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78" r:id="rId6"/>
    <p:sldMasterId id="2147483813" r:id="rId7"/>
    <p:sldMasterId id="2147483848" r:id="rId8"/>
  </p:sldMasterIdLst>
  <p:notesMasterIdLst>
    <p:notesMasterId r:id="rId18"/>
  </p:notesMasterIdLst>
  <p:handoutMasterIdLst>
    <p:handoutMasterId r:id="rId19"/>
  </p:handoutMasterIdLst>
  <p:sldIdLst>
    <p:sldId id="294" r:id="rId9"/>
    <p:sldId id="334" r:id="rId10"/>
    <p:sldId id="335" r:id="rId11"/>
    <p:sldId id="333" r:id="rId12"/>
    <p:sldId id="325" r:id="rId13"/>
    <p:sldId id="338" r:id="rId14"/>
    <p:sldId id="341" r:id="rId15"/>
    <p:sldId id="336" r:id="rId16"/>
    <p:sldId id="312" r:id="rId17"/>
  </p:sldIdLst>
  <p:sldSz cx="10058400" cy="6858000"/>
  <p:notesSz cx="10058400" cy="7772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68" userDrawn="1">
          <p15:clr>
            <a:srgbClr val="A4A3A4"/>
          </p15:clr>
        </p15:guide>
        <p15:guide id="2" pos="528" userDrawn="1">
          <p15:clr>
            <a:srgbClr val="A4A3A4"/>
          </p15:clr>
        </p15:guide>
        <p15:guide id="3" pos="5760" userDrawn="1">
          <p15:clr>
            <a:srgbClr val="A4A3A4"/>
          </p15:clr>
        </p15:guide>
        <p15:guide id="5" orient="horz" pos="635" userDrawn="1">
          <p15:clr>
            <a:srgbClr val="A4A3A4"/>
          </p15:clr>
        </p15:guide>
        <p15:guide id="6" orient="horz" pos="720" userDrawn="1">
          <p15:clr>
            <a:srgbClr val="A4A3A4"/>
          </p15:clr>
        </p15:guide>
        <p15:guide id="7" orient="horz" pos="4104" userDrawn="1">
          <p15:clr>
            <a:srgbClr val="A4A3A4"/>
          </p15:clr>
        </p15:guide>
        <p15:guide id="8" orient="horz" pos="1224" userDrawn="1">
          <p15:clr>
            <a:srgbClr val="A4A3A4"/>
          </p15:clr>
        </p15:guide>
        <p15:guide id="9" orient="horz" pos="552" userDrawn="1">
          <p15:clr>
            <a:srgbClr val="A4A3A4"/>
          </p15:clr>
        </p15:guide>
        <p15:guide id="10" orient="horz" pos="833" userDrawn="1">
          <p15:clr>
            <a:srgbClr val="A4A3A4"/>
          </p15:clr>
        </p15:guide>
        <p15:guide id="11" pos="3057" userDrawn="1">
          <p15:clr>
            <a:srgbClr val="A4A3A4"/>
          </p15:clr>
        </p15:guide>
        <p15:guide id="12" pos="5819" userDrawn="1">
          <p15:clr>
            <a:srgbClr val="A4A3A4"/>
          </p15:clr>
        </p15:guide>
        <p15:guide id="13" pos="1440" userDrawn="1">
          <p15:clr>
            <a:srgbClr val="A4A3A4"/>
          </p15:clr>
        </p15:guide>
        <p15:guide id="14" pos="3279" userDrawn="1">
          <p15:clr>
            <a:srgbClr val="A4A3A4"/>
          </p15:clr>
        </p15:guide>
        <p15:guide id="15" pos="52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2077"/>
    <a:srgbClr val="4E2379"/>
    <a:srgbClr val="005EB8"/>
    <a:srgbClr val="00A3A1"/>
    <a:srgbClr val="00338D"/>
    <a:srgbClr val="483698"/>
    <a:srgbClr val="0091DA"/>
    <a:srgbClr val="BC204B"/>
    <a:srgbClr val="F68D2E"/>
    <a:srgbClr val="EAA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760" autoAdjust="0"/>
  </p:normalViewPr>
  <p:slideViewPr>
    <p:cSldViewPr snapToGrid="0">
      <p:cViewPr varScale="1">
        <p:scale>
          <a:sx n="86" d="100"/>
          <a:sy n="86" d="100"/>
        </p:scale>
        <p:origin x="1061" y="58"/>
      </p:cViewPr>
      <p:guideLst>
        <p:guide orient="horz" pos="3768"/>
        <p:guide pos="528"/>
        <p:guide pos="5760"/>
        <p:guide orient="horz" pos="635"/>
        <p:guide orient="horz" pos="720"/>
        <p:guide orient="horz" pos="4104"/>
        <p:guide orient="horz" pos="1224"/>
        <p:guide orient="horz" pos="552"/>
        <p:guide orient="horz" pos="833"/>
        <p:guide pos="3057"/>
        <p:guide pos="5819"/>
        <p:guide pos="1440"/>
        <p:guide pos="3279"/>
        <p:guide pos="526"/>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handoutMaster" Target="handoutMasters/handoutMaster1.xml"/><Relationship Id="rId22" Type="http://schemas.openxmlformats.org/officeDocument/2006/relationships/theme" Target="theme/theme1.xml"/><Relationship Id="rId9" Type="http://schemas.openxmlformats.org/officeDocument/2006/relationships/slide" Target="slides/slide1.xml"/><Relationship Id="rId14"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59275" cy="3889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697538" y="0"/>
            <a:ext cx="4359275" cy="388938"/>
          </a:xfrm>
          <a:prstGeom prst="rect">
            <a:avLst/>
          </a:prstGeom>
        </p:spPr>
        <p:txBody>
          <a:bodyPr vert="horz" lIns="91440" tIns="45720" rIns="91440" bIns="45720" rtlCol="0"/>
          <a:lstStyle>
            <a:lvl1pPr algn="r">
              <a:defRPr sz="1200"/>
            </a:lvl1pPr>
          </a:lstStyle>
          <a:p>
            <a:fld id="{05DEF64C-6444-C54F-9BF0-613CB0CFD382}" type="datetimeFigureOut">
              <a:rPr lang="en-US" smtClean="0"/>
              <a:t>9/20/2016</a:t>
            </a:fld>
            <a:endParaRPr lang="en-US"/>
          </a:p>
        </p:txBody>
      </p:sp>
      <p:sp>
        <p:nvSpPr>
          <p:cNvPr id="4" name="Footer Placeholder 3"/>
          <p:cNvSpPr>
            <a:spLocks noGrp="1"/>
          </p:cNvSpPr>
          <p:nvPr>
            <p:ph type="ftr" sz="quarter" idx="2"/>
          </p:nvPr>
        </p:nvSpPr>
        <p:spPr>
          <a:xfrm>
            <a:off x="0" y="7381875"/>
            <a:ext cx="4359275" cy="3889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97538" y="7381875"/>
            <a:ext cx="4359275" cy="388938"/>
          </a:xfrm>
          <a:prstGeom prst="rect">
            <a:avLst/>
          </a:prstGeom>
        </p:spPr>
        <p:txBody>
          <a:bodyPr vert="horz" lIns="91440" tIns="45720" rIns="91440" bIns="45720" rtlCol="0" anchor="b"/>
          <a:lstStyle>
            <a:lvl1pPr algn="r">
              <a:defRPr sz="1200"/>
            </a:lvl1pPr>
          </a:lstStyle>
          <a:p>
            <a:fld id="{29418882-9918-3B42-897A-C192067F29E7}" type="slidenum">
              <a:rPr lang="en-US" smtClean="0"/>
              <a:t>‹Nr.›</a:t>
            </a:fld>
            <a:endParaRPr lang="en-US"/>
          </a:p>
        </p:txBody>
      </p:sp>
    </p:spTree>
    <p:extLst>
      <p:ext uri="{BB962C8B-B14F-4D97-AF65-F5344CB8AC3E}">
        <p14:creationId xmlns:p14="http://schemas.microsoft.com/office/powerpoint/2010/main" val="24201191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59275" cy="3889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97538" y="0"/>
            <a:ext cx="4359275" cy="388938"/>
          </a:xfrm>
          <a:prstGeom prst="rect">
            <a:avLst/>
          </a:prstGeom>
        </p:spPr>
        <p:txBody>
          <a:bodyPr vert="horz" lIns="91440" tIns="45720" rIns="91440" bIns="45720" rtlCol="0"/>
          <a:lstStyle>
            <a:lvl1pPr algn="r">
              <a:defRPr sz="1200"/>
            </a:lvl1pPr>
          </a:lstStyle>
          <a:p>
            <a:fld id="{A9B7456A-CD06-0D40-B083-11158BE207ED}" type="datetimeFigureOut">
              <a:rPr lang="en-US" smtClean="0"/>
              <a:t>9/20/2016</a:t>
            </a:fld>
            <a:endParaRPr lang="en-US"/>
          </a:p>
        </p:txBody>
      </p:sp>
      <p:sp>
        <p:nvSpPr>
          <p:cNvPr id="4" name="Slide Image Placeholder 3"/>
          <p:cNvSpPr>
            <a:spLocks noGrp="1" noRot="1" noChangeAspect="1"/>
          </p:cNvSpPr>
          <p:nvPr>
            <p:ph type="sldImg" idx="2"/>
          </p:nvPr>
        </p:nvSpPr>
        <p:spPr>
          <a:xfrm>
            <a:off x="3106738" y="971550"/>
            <a:ext cx="3844925" cy="26225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006475" y="3740150"/>
            <a:ext cx="8045450" cy="30607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7383463"/>
            <a:ext cx="4359275" cy="38893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97538" y="7383463"/>
            <a:ext cx="4359275" cy="388937"/>
          </a:xfrm>
          <a:prstGeom prst="rect">
            <a:avLst/>
          </a:prstGeom>
        </p:spPr>
        <p:txBody>
          <a:bodyPr vert="horz" lIns="91440" tIns="45720" rIns="91440" bIns="45720" rtlCol="0" anchor="b"/>
          <a:lstStyle>
            <a:lvl1pPr algn="r">
              <a:defRPr sz="1200"/>
            </a:lvl1pPr>
          </a:lstStyle>
          <a:p>
            <a:fld id="{E2FEE106-D861-6343-96FF-5BF90692C3C7}" type="slidenum">
              <a:rPr lang="en-US" smtClean="0"/>
              <a:t>‹Nr.›</a:t>
            </a:fld>
            <a:endParaRPr lang="en-US"/>
          </a:p>
        </p:txBody>
      </p:sp>
    </p:spTree>
    <p:extLst>
      <p:ext uri="{BB962C8B-B14F-4D97-AF65-F5344CB8AC3E}">
        <p14:creationId xmlns:p14="http://schemas.microsoft.com/office/powerpoint/2010/main" val="1591445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D668DE4-21C6-4013-9319-E62287044E71}" type="slidenum">
              <a:rPr lang="de-DE" smtClean="0"/>
              <a:t>4</a:t>
            </a:fld>
            <a:endParaRPr lang="de-DE"/>
          </a:p>
        </p:txBody>
      </p:sp>
    </p:spTree>
    <p:extLst>
      <p:ext uri="{BB962C8B-B14F-4D97-AF65-F5344CB8AC3E}">
        <p14:creationId xmlns:p14="http://schemas.microsoft.com/office/powerpoint/2010/main" val="2946262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D668DE4-21C6-4013-9319-E62287044E71}" type="slidenum">
              <a:rPr lang="de-DE" smtClean="0"/>
              <a:t>6</a:t>
            </a:fld>
            <a:endParaRPr lang="de-DE"/>
          </a:p>
        </p:txBody>
      </p:sp>
    </p:spTree>
    <p:extLst>
      <p:ext uri="{BB962C8B-B14F-4D97-AF65-F5344CB8AC3E}">
        <p14:creationId xmlns:p14="http://schemas.microsoft.com/office/powerpoint/2010/main" val="3550800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D668DE4-21C6-4013-9319-E62287044E71}" type="slidenum">
              <a:rPr lang="de-DE" smtClean="0"/>
              <a:t>7</a:t>
            </a:fld>
            <a:endParaRPr lang="de-DE"/>
          </a:p>
        </p:txBody>
      </p:sp>
    </p:spTree>
    <p:extLst>
      <p:ext uri="{BB962C8B-B14F-4D97-AF65-F5344CB8AC3E}">
        <p14:creationId xmlns:p14="http://schemas.microsoft.com/office/powerpoint/2010/main" val="24877352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hyperlink" Target="https://kpmgbrandcentral.brandwizard.net/app/asset/asset_search.aspx?catid=757&amp;libid=2" TargetMode="Externa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3 - No imag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stretch>
            <a:fillRect/>
          </a:stretch>
        </p:blipFill>
        <p:spPr>
          <a:xfrm>
            <a:off x="4716" y="0"/>
            <a:ext cx="10110834" cy="685800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273" y="0"/>
            <a:ext cx="1943027" cy="1435325"/>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r="31562"/>
          <a:stretch/>
        </p:blipFill>
        <p:spPr>
          <a:xfrm>
            <a:off x="5933551" y="0"/>
            <a:ext cx="4181999" cy="6858000"/>
          </a:xfrm>
          <a:prstGeom prst="rect">
            <a:avLst/>
          </a:prstGeom>
        </p:spPr>
      </p:pic>
    </p:spTree>
    <p:extLst>
      <p:ext uri="{BB962C8B-B14F-4D97-AF65-F5344CB8AC3E}">
        <p14:creationId xmlns:p14="http://schemas.microsoft.com/office/powerpoint/2010/main" val="321874839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5" name="Chart Placeholder 4"/>
          <p:cNvSpPr>
            <a:spLocks noGrp="1"/>
          </p:cNvSpPr>
          <p:nvPr>
            <p:ph type="chart" sz="quarter" idx="12"/>
          </p:nvPr>
        </p:nvSpPr>
        <p:spPr>
          <a:xfrm>
            <a:off x="838200" y="1485899"/>
            <a:ext cx="8399463" cy="2424249"/>
          </a:xfrm>
          <a:prstGeom prst="rect">
            <a:avLst/>
          </a:prstGeom>
        </p:spPr>
        <p:txBody>
          <a:bodyPr/>
          <a:lstStyle>
            <a:lvl1pPr>
              <a:defRPr>
                <a:latin typeface="Univers for KPMG Light"/>
                <a:cs typeface="Univers for KPMG Light"/>
              </a:defRPr>
            </a:lvl1pPr>
          </a:lstStyle>
          <a:p>
            <a:r>
              <a:rPr lang="en-US" smtClean="0"/>
              <a:t>Click icon to add chart</a:t>
            </a:r>
            <a:endParaRPr lang="en-US" dirty="0"/>
          </a:p>
        </p:txBody>
      </p:sp>
      <p:sp>
        <p:nvSpPr>
          <p:cNvPr id="7" name="Text Placeholder 7"/>
          <p:cNvSpPr>
            <a:spLocks noGrp="1"/>
          </p:cNvSpPr>
          <p:nvPr>
            <p:ph type="body" sz="quarter" idx="13"/>
          </p:nvPr>
        </p:nvSpPr>
        <p:spPr>
          <a:xfrm>
            <a:off x="838200" y="4101353"/>
            <a:ext cx="8399463" cy="1461939"/>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a:solidFill>
                  <a:schemeClr val="accent5"/>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89452734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3754080" y="1331360"/>
            <a:ext cx="2589840" cy="2134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827640" y="1331360"/>
            <a:ext cx="2629440" cy="21348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827640" y="3742126"/>
            <a:ext cx="26294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6640920" y="1331360"/>
            <a:ext cx="2589840" cy="21348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3714480" y="3742126"/>
            <a:ext cx="26294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601320" y="3742126"/>
            <a:ext cx="26294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2078767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827640" y="1330126"/>
            <a:ext cx="8411040" cy="4546800"/>
          </a:xfrm>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26090881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2"/>
            <a:ext cx="10058400" cy="5876925"/>
          </a:xfrm>
        </p:spPr>
        <p:txBody>
          <a:bodyPr anchor="ctr"/>
          <a:lstStyle>
            <a:lvl1pPr algn="ctr">
              <a:defRPr/>
            </a:lvl1pPr>
          </a:lstStyle>
          <a:p>
            <a:r>
              <a:rPr lang="en-US"/>
              <a:t>Click icon to add picture</a:t>
            </a:r>
            <a:endParaRPr lang="en-GB" dirty="0"/>
          </a:p>
        </p:txBody>
      </p:sp>
      <p:sp>
        <p:nvSpPr>
          <p:cNvPr id="6" name="Shape 8"/>
          <p:cNvSpPr txBox="1">
            <a:spLocks/>
          </p:cNvSpPr>
          <p:nvPr userDrawn="1"/>
        </p:nvSpPr>
        <p:spPr>
          <a:xfrm>
            <a:off x="8860037" y="6266997"/>
            <a:ext cx="3709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825" smtClean="0">
                <a:solidFill>
                  <a:srgbClr val="00338D"/>
                </a:solidFill>
                <a:cs typeface="Arial" panose="020B0604020202020204" pitchFamily="34" charset="0"/>
              </a:rPr>
              <a:pPr algn="r"/>
              <a:t>‹Nr.›</a:t>
            </a:fld>
            <a:endParaRPr lang="en-US" sz="825" dirty="0">
              <a:solidFill>
                <a:srgbClr val="00338D"/>
              </a:solidFill>
              <a:cs typeface="Arial" panose="020B0604020202020204" pitchFamily="34" charset="0"/>
            </a:endParaRPr>
          </a:p>
        </p:txBody>
      </p:sp>
      <p:sp>
        <p:nvSpPr>
          <p:cNvPr id="7" name="TextBox 6"/>
          <p:cNvSpPr txBox="1"/>
          <p:nvPr userDrawn="1"/>
        </p:nvSpPr>
        <p:spPr>
          <a:xfrm>
            <a:off x="1843821" y="6266997"/>
            <a:ext cx="6399360" cy="370800"/>
          </a:xfrm>
          <a:prstGeom prst="rect">
            <a:avLst/>
          </a:prstGeom>
          <a:noFill/>
        </p:spPr>
        <p:txBody>
          <a:bodyPr wrap="square" lIns="0" tIns="0" rIns="0" bIns="0" rtlCol="0">
            <a:noAutofit/>
          </a:bodyPr>
          <a:lstStyle/>
          <a:p>
            <a:pPr defTabSz="754380">
              <a:defRPr/>
            </a:pPr>
            <a:r>
              <a:rPr lang="en-GB" sz="495" dirty="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4173840" y="6637578"/>
            <a:ext cx="1861200" cy="109552"/>
          </a:xfrm>
          <a:prstGeom prst="rect">
            <a:avLst/>
          </a:prstGeom>
          <a:noFill/>
        </p:spPr>
        <p:txBody>
          <a:bodyPr wrap="square" lIns="0" tIns="0" rIns="0" bIns="0" rtlCol="0">
            <a:noAutofit/>
          </a:bodyPr>
          <a:lstStyle/>
          <a:p>
            <a:pPr algn="ctr" defTabSz="754380">
              <a:defRPr/>
            </a:pPr>
            <a:r>
              <a:rPr lang="en-GB" sz="495" b="1" dirty="0">
                <a:solidFill>
                  <a:srgbClr val="000000"/>
                </a:solidFill>
              </a:rPr>
              <a:t>Document Classification: KPMG Confidential</a:t>
            </a:r>
          </a:p>
        </p:txBody>
      </p:sp>
      <p:sp>
        <p:nvSpPr>
          <p:cNvPr id="9"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19206108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54133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25502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96871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827640" y="1322388"/>
            <a:ext cx="1548360" cy="604800"/>
          </a:xfrm>
          <a:prstGeom prst="homePlate">
            <a:avLst>
              <a:gd name="adj" fmla="val 31970"/>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54133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25502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96871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8240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8240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457472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98320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3876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9432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820737" y="1322388"/>
            <a:ext cx="1936440" cy="604800"/>
          </a:xfrm>
          <a:prstGeom prst="homePlate">
            <a:avLst>
              <a:gd name="adj" fmla="val 31970"/>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978598" y="1322388"/>
            <a:ext cx="193644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36459" y="1322388"/>
            <a:ext cx="193644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94320" y="1322388"/>
            <a:ext cx="193644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37331744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4377912" y="2757950"/>
            <a:ext cx="1370321" cy="1659600"/>
          </a:xfrm>
          <a:prstGeom prst="ellipse">
            <a:avLst/>
          </a:prstGeom>
          <a:solidFill>
            <a:schemeClr val="accent1"/>
          </a:solidFill>
          <a:ln>
            <a:noFill/>
          </a:ln>
        </p:spPr>
        <p:txBody>
          <a:bodyPr lIns="54000" tIns="54000" rIns="54000" bIns="54000" anchor="ctr" anchorCtr="1">
            <a:noAutofit/>
          </a:bodyPr>
          <a:lstStyle>
            <a:lvl1pPr algn="ctr">
              <a:defRPr sz="1155">
                <a:solidFill>
                  <a:schemeClr val="bg1"/>
                </a:solidFill>
                <a:latin typeface="+mn-lt"/>
                <a:cs typeface="Arial" panose="020B0604020202020204" pitchFamily="34" charset="0"/>
              </a:defRPr>
            </a:lvl1pPr>
          </a:lstStyle>
          <a:p>
            <a:pPr lvl="0"/>
            <a:r>
              <a:rPr lang="en-US"/>
              <a:t>Edit Master text styles</a:t>
            </a:r>
          </a:p>
        </p:txBody>
      </p:sp>
      <p:sp>
        <p:nvSpPr>
          <p:cNvPr id="17" name="Text Placeholder 20"/>
          <p:cNvSpPr>
            <a:spLocks noGrp="1"/>
          </p:cNvSpPr>
          <p:nvPr>
            <p:ph type="body" sz="quarter" idx="26"/>
          </p:nvPr>
        </p:nvSpPr>
        <p:spPr bwMode="gray">
          <a:xfrm>
            <a:off x="827762" y="1322388"/>
            <a:ext cx="3174348"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155"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6" name="Text Placeholder 20"/>
          <p:cNvSpPr>
            <a:spLocks noGrp="1"/>
          </p:cNvSpPr>
          <p:nvPr>
            <p:ph type="body" sz="quarter" idx="48"/>
          </p:nvPr>
        </p:nvSpPr>
        <p:spPr bwMode="gray">
          <a:xfrm>
            <a:off x="827762" y="4015250"/>
            <a:ext cx="3174348"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99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7" name="Text Placeholder 20"/>
          <p:cNvSpPr>
            <a:spLocks noGrp="1"/>
          </p:cNvSpPr>
          <p:nvPr>
            <p:ph type="body" sz="quarter" idx="50"/>
          </p:nvPr>
        </p:nvSpPr>
        <p:spPr bwMode="gray">
          <a:xfrm>
            <a:off x="6058801" y="1322388"/>
            <a:ext cx="3174348"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155"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8" name="Text Placeholder 20"/>
          <p:cNvSpPr>
            <a:spLocks noGrp="1"/>
          </p:cNvSpPr>
          <p:nvPr>
            <p:ph type="body" sz="quarter" idx="52"/>
          </p:nvPr>
        </p:nvSpPr>
        <p:spPr bwMode="gray">
          <a:xfrm>
            <a:off x="6058801" y="4015250"/>
            <a:ext cx="3174348"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155"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9" name="AutoShape 20"/>
          <p:cNvSpPr>
            <a:spLocks noChangeArrowheads="1"/>
          </p:cNvSpPr>
          <p:nvPr userDrawn="1"/>
        </p:nvSpPr>
        <p:spPr bwMode="gray">
          <a:xfrm rot="2700000">
            <a:off x="4164667" y="2512524"/>
            <a:ext cx="382279" cy="414761"/>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
        <p:nvSpPr>
          <p:cNvPr id="31" name="Text Placeholder 3"/>
          <p:cNvSpPr>
            <a:spLocks noGrp="1"/>
          </p:cNvSpPr>
          <p:nvPr>
            <p:ph type="body" sz="quarter" idx="53"/>
          </p:nvPr>
        </p:nvSpPr>
        <p:spPr>
          <a:xfrm>
            <a:off x="827761" y="1718873"/>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827761" y="4404050"/>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6057228" y="1718873"/>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6057228" y="4404050"/>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5562957" y="2468534"/>
            <a:ext cx="315380"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
        <p:nvSpPr>
          <p:cNvPr id="21" name="AutoShape 20"/>
          <p:cNvSpPr>
            <a:spLocks noChangeArrowheads="1"/>
          </p:cNvSpPr>
          <p:nvPr userDrawn="1"/>
        </p:nvSpPr>
        <p:spPr bwMode="gray">
          <a:xfrm rot="18900000" flipV="1">
            <a:off x="4198115" y="4310034"/>
            <a:ext cx="315380"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
        <p:nvSpPr>
          <p:cNvPr id="22" name="AutoShape 20"/>
          <p:cNvSpPr>
            <a:spLocks noChangeArrowheads="1"/>
          </p:cNvSpPr>
          <p:nvPr userDrawn="1"/>
        </p:nvSpPr>
        <p:spPr bwMode="gray">
          <a:xfrm rot="2700000" flipH="1" flipV="1">
            <a:off x="5529507" y="4354024"/>
            <a:ext cx="382279" cy="414761"/>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Tree>
    <p:extLst>
      <p:ext uri="{BB962C8B-B14F-4D97-AF65-F5344CB8AC3E}">
        <p14:creationId xmlns:p14="http://schemas.microsoft.com/office/powerpoint/2010/main" val="167290190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827640" y="1708150"/>
            <a:ext cx="4098600" cy="4168775"/>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82764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16" name="Text Placeholder 8"/>
          <p:cNvSpPr>
            <a:spLocks noGrp="1"/>
          </p:cNvSpPr>
          <p:nvPr>
            <p:ph type="body" sz="quarter" idx="21"/>
          </p:nvPr>
        </p:nvSpPr>
        <p:spPr>
          <a:xfrm>
            <a:off x="5132160" y="1708150"/>
            <a:ext cx="4098600" cy="4168775"/>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513216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Tree>
    <p:extLst>
      <p:ext uri="{BB962C8B-B14F-4D97-AF65-F5344CB8AC3E}">
        <p14:creationId xmlns:p14="http://schemas.microsoft.com/office/powerpoint/2010/main" val="25132472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827640" y="1708150"/>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82764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15" name="Text Placeholder 8"/>
          <p:cNvSpPr>
            <a:spLocks noGrp="1"/>
          </p:cNvSpPr>
          <p:nvPr>
            <p:ph type="body" sz="quarter" idx="21"/>
          </p:nvPr>
        </p:nvSpPr>
        <p:spPr>
          <a:xfrm>
            <a:off x="5132160" y="1708150"/>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513216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21" name="Text Placeholder 8"/>
          <p:cNvSpPr>
            <a:spLocks noGrp="1"/>
          </p:cNvSpPr>
          <p:nvPr>
            <p:ph type="body" sz="quarter" idx="23"/>
          </p:nvPr>
        </p:nvSpPr>
        <p:spPr>
          <a:xfrm>
            <a:off x="827640" y="4117976"/>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827640" y="3741920"/>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23" name="Text Placeholder 8"/>
          <p:cNvSpPr>
            <a:spLocks noGrp="1"/>
          </p:cNvSpPr>
          <p:nvPr>
            <p:ph type="body" sz="quarter" idx="25"/>
          </p:nvPr>
        </p:nvSpPr>
        <p:spPr>
          <a:xfrm>
            <a:off x="5132160" y="4117976"/>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5132160" y="3741920"/>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Tree>
    <p:extLst>
      <p:ext uri="{BB962C8B-B14F-4D97-AF65-F5344CB8AC3E}">
        <p14:creationId xmlns:p14="http://schemas.microsoft.com/office/powerpoint/2010/main" val="4014300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8624" t="16167" r="19535" b="11976"/>
          <a:stretch/>
        </p:blipFill>
        <p:spPr>
          <a:xfrm>
            <a:off x="0" y="0"/>
            <a:ext cx="10058400" cy="6858000"/>
          </a:xfrm>
          <a:prstGeom prst="rect">
            <a:avLst/>
          </a:prstGeom>
        </p:spPr>
      </p:pic>
      <p:sp>
        <p:nvSpPr>
          <p:cNvPr id="5"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370156374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8376977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hart Placeholder 4"/>
          <p:cNvSpPr>
            <a:spLocks noGrp="1"/>
          </p:cNvSpPr>
          <p:nvPr>
            <p:ph type="chart" sz="quarter" idx="12"/>
          </p:nvPr>
        </p:nvSpPr>
        <p:spPr>
          <a:xfrm>
            <a:off x="838200" y="1485900"/>
            <a:ext cx="2590800" cy="1920240"/>
          </a:xfrm>
          <a:prstGeom prst="rect">
            <a:avLst/>
          </a:prstGeom>
        </p:spPr>
        <p:txBody>
          <a:bodyPr/>
          <a:lstStyle>
            <a:lvl1pPr>
              <a:defRPr>
                <a:latin typeface="Univers for KPMG Light"/>
                <a:cs typeface="Univers for KPMG Light"/>
              </a:defRPr>
            </a:lvl1pPr>
          </a:lstStyle>
          <a:p>
            <a:r>
              <a:rPr lang="en-US" smtClean="0"/>
              <a:t>Click icon to add chart</a:t>
            </a:r>
            <a:endParaRPr lang="en-US" dirty="0"/>
          </a:p>
        </p:txBody>
      </p:sp>
      <p:sp>
        <p:nvSpPr>
          <p:cNvPr id="10" name="Chart Placeholder 4"/>
          <p:cNvSpPr>
            <a:spLocks noGrp="1"/>
          </p:cNvSpPr>
          <p:nvPr>
            <p:ph type="chart" sz="quarter" idx="13"/>
          </p:nvPr>
        </p:nvSpPr>
        <p:spPr>
          <a:xfrm>
            <a:off x="3744056" y="1485900"/>
            <a:ext cx="2587752" cy="1920240"/>
          </a:xfrm>
          <a:prstGeom prst="rect">
            <a:avLst/>
          </a:prstGeom>
        </p:spPr>
        <p:txBody>
          <a:bodyPr/>
          <a:lstStyle>
            <a:lvl1pPr>
              <a:defRPr>
                <a:latin typeface="Univers for KPMG Light"/>
                <a:cs typeface="Univers for KPMG Light"/>
              </a:defRPr>
            </a:lvl1pPr>
          </a:lstStyle>
          <a:p>
            <a:r>
              <a:rPr lang="en-US" smtClean="0"/>
              <a:t>Click icon to add chart</a:t>
            </a:r>
            <a:endParaRPr lang="en-US" dirty="0"/>
          </a:p>
        </p:txBody>
      </p:sp>
      <p:sp>
        <p:nvSpPr>
          <p:cNvPr id="12" name="Chart Placeholder 4"/>
          <p:cNvSpPr>
            <a:spLocks noGrp="1"/>
          </p:cNvSpPr>
          <p:nvPr>
            <p:ph type="chart" sz="quarter" idx="14"/>
          </p:nvPr>
        </p:nvSpPr>
        <p:spPr>
          <a:xfrm>
            <a:off x="6646863" y="1485900"/>
            <a:ext cx="2590800" cy="1920240"/>
          </a:xfrm>
          <a:prstGeom prst="rect">
            <a:avLst/>
          </a:prstGeom>
        </p:spPr>
        <p:txBody>
          <a:bodyPr/>
          <a:lstStyle>
            <a:lvl1pPr>
              <a:defRPr>
                <a:latin typeface="Univers for KPMG Light"/>
                <a:cs typeface="Univers for KPMG Light"/>
              </a:defRPr>
            </a:lvl1pPr>
          </a:lstStyle>
          <a:p>
            <a:r>
              <a:rPr lang="en-US" smtClean="0"/>
              <a:t>Click icon to add chart</a:t>
            </a:r>
            <a:endParaRPr lang="en-US" dirty="0"/>
          </a:p>
        </p:txBody>
      </p:sp>
      <p:sp>
        <p:nvSpPr>
          <p:cNvPr id="9" name="Text Placeholder 7"/>
          <p:cNvSpPr>
            <a:spLocks noGrp="1"/>
          </p:cNvSpPr>
          <p:nvPr>
            <p:ph type="body" sz="quarter" idx="15"/>
          </p:nvPr>
        </p:nvSpPr>
        <p:spPr>
          <a:xfrm>
            <a:off x="838200" y="3577198"/>
            <a:ext cx="2590800" cy="1692771"/>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a:solidFill>
                  <a:schemeClr val="accent5"/>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ext Placeholder 7"/>
          <p:cNvSpPr>
            <a:spLocks noGrp="1"/>
          </p:cNvSpPr>
          <p:nvPr>
            <p:ph type="body" sz="quarter" idx="16"/>
          </p:nvPr>
        </p:nvSpPr>
        <p:spPr>
          <a:xfrm>
            <a:off x="3744056" y="3577198"/>
            <a:ext cx="2587752" cy="1692771"/>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a:solidFill>
                  <a:schemeClr val="accent5"/>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7"/>
          <p:cNvSpPr>
            <a:spLocks noGrp="1"/>
          </p:cNvSpPr>
          <p:nvPr>
            <p:ph type="body" sz="quarter" idx="17"/>
          </p:nvPr>
        </p:nvSpPr>
        <p:spPr>
          <a:xfrm>
            <a:off x="6646863" y="3577198"/>
            <a:ext cx="2590800" cy="1692771"/>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a:solidFill>
                  <a:schemeClr val="accent5"/>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09390041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12275637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34322764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21176677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grpSp>
        <p:nvGrpSpPr>
          <p:cNvPr id="4" name="Group 41"/>
          <p:cNvGrpSpPr>
            <a:grpSpLocks noChangeAspect="1"/>
          </p:cNvGrpSpPr>
          <p:nvPr userDrawn="1"/>
        </p:nvGrpSpPr>
        <p:grpSpPr bwMode="auto">
          <a:xfrm>
            <a:off x="4422307" y="1930400"/>
            <a:ext cx="1070486" cy="4041775"/>
            <a:chOff x="3518" y="1159"/>
            <a:chExt cx="644" cy="2006"/>
          </a:xfrm>
        </p:grpSpPr>
        <p:sp>
          <p:nvSpPr>
            <p:cNvPr id="5" name="Freeform 42"/>
            <p:cNvSpPr>
              <a:spLocks/>
            </p:cNvSpPr>
            <p:nvPr/>
          </p:nvSpPr>
          <p:spPr bwMode="auto">
            <a:xfrm>
              <a:off x="3713" y="1166"/>
              <a:ext cx="247"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 name="Freeform 43"/>
            <p:cNvSpPr>
              <a:spLocks/>
            </p:cNvSpPr>
            <p:nvPr/>
          </p:nvSpPr>
          <p:spPr bwMode="auto">
            <a:xfrm>
              <a:off x="3853" y="3037"/>
              <a:ext cx="116"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7" name="Freeform 44"/>
            <p:cNvSpPr>
              <a:spLocks/>
            </p:cNvSpPr>
            <p:nvPr/>
          </p:nvSpPr>
          <p:spPr bwMode="auto">
            <a:xfrm>
              <a:off x="3729"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8" name="Freeform 45"/>
            <p:cNvSpPr>
              <a:spLocks/>
            </p:cNvSpPr>
            <p:nvPr/>
          </p:nvSpPr>
          <p:spPr bwMode="auto">
            <a:xfrm>
              <a:off x="3647" y="1442"/>
              <a:ext cx="368"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9" name="Freeform 46"/>
            <p:cNvSpPr>
              <a:spLocks/>
            </p:cNvSpPr>
            <p:nvPr/>
          </p:nvSpPr>
          <p:spPr bwMode="auto">
            <a:xfrm>
              <a:off x="3784" y="1442"/>
              <a:ext cx="114"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0" name="Freeform 47"/>
            <p:cNvSpPr>
              <a:spLocks/>
            </p:cNvSpPr>
            <p:nvPr/>
          </p:nvSpPr>
          <p:spPr bwMode="auto">
            <a:xfrm>
              <a:off x="3722" y="1184"/>
              <a:ext cx="238"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1" name="Freeform 48"/>
            <p:cNvSpPr>
              <a:spLocks/>
            </p:cNvSpPr>
            <p:nvPr/>
          </p:nvSpPr>
          <p:spPr bwMode="auto">
            <a:xfrm>
              <a:off x="3702" y="1159"/>
              <a:ext cx="272"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2" name="Freeform 49"/>
            <p:cNvSpPr>
              <a:spLocks/>
            </p:cNvSpPr>
            <p:nvPr/>
          </p:nvSpPr>
          <p:spPr bwMode="auto">
            <a:xfrm>
              <a:off x="3656"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3" name="Freeform 50"/>
            <p:cNvSpPr>
              <a:spLocks/>
            </p:cNvSpPr>
            <p:nvPr/>
          </p:nvSpPr>
          <p:spPr bwMode="auto">
            <a:xfrm>
              <a:off x="3875" y="1546"/>
              <a:ext cx="145"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4" name="Freeform 51"/>
            <p:cNvSpPr>
              <a:spLocks/>
            </p:cNvSpPr>
            <p:nvPr/>
          </p:nvSpPr>
          <p:spPr bwMode="auto">
            <a:xfrm>
              <a:off x="3951" y="1541"/>
              <a:ext cx="158" cy="249"/>
            </a:xfrm>
            <a:custGeom>
              <a:avLst/>
              <a:gdLst>
                <a:gd name="T0" fmla="*/ 41 w 89"/>
                <a:gd name="T1" fmla="*/ 20 h 141"/>
                <a:gd name="T2" fmla="*/ 89 w 89"/>
                <a:gd name="T3" fmla="*/ 104 h 141"/>
                <a:gd name="T4" fmla="*/ 53 w 89"/>
                <a:gd name="T5" fmla="*/ 141 h 141"/>
                <a:gd name="T6" fmla="*/ 20 w 89"/>
                <a:gd name="T7" fmla="*/ 100 h 141"/>
                <a:gd name="T8" fmla="*/ 41 w 89"/>
                <a:gd name="T9" fmla="*/ 20 h 141"/>
              </a:gdLst>
              <a:ahLst/>
              <a:cxnLst>
                <a:cxn ang="0">
                  <a:pos x="T0" y="T1"/>
                </a:cxn>
                <a:cxn ang="0">
                  <a:pos x="T2" y="T3"/>
                </a:cxn>
                <a:cxn ang="0">
                  <a:pos x="T4" y="T5"/>
                </a:cxn>
                <a:cxn ang="0">
                  <a:pos x="T6" y="T7"/>
                </a:cxn>
                <a:cxn ang="0">
                  <a:pos x="T8" y="T9"/>
                </a:cxn>
              </a:cxnLst>
              <a:rect l="0" t="0" r="r" b="b"/>
              <a:pathLst>
                <a:path w="89" h="141">
                  <a:moveTo>
                    <a:pt x="41" y="20"/>
                  </a:moveTo>
                  <a:cubicBezTo>
                    <a:pt x="89" y="104"/>
                    <a:pt x="89" y="104"/>
                    <a:pt x="89" y="104"/>
                  </a:cubicBezTo>
                  <a:cubicBezTo>
                    <a:pt x="53" y="141"/>
                    <a:pt x="53" y="141"/>
                    <a:pt x="53" y="141"/>
                  </a:cubicBezTo>
                  <a:cubicBezTo>
                    <a:pt x="20" y="100"/>
                    <a:pt x="20" y="100"/>
                    <a:pt x="20" y="100"/>
                  </a:cubicBezTo>
                  <a:cubicBezTo>
                    <a:pt x="0" y="74"/>
                    <a:pt x="26" y="0"/>
                    <a:pt x="41" y="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5" name="Freeform 52"/>
            <p:cNvSpPr>
              <a:spLocks/>
            </p:cNvSpPr>
            <p:nvPr/>
          </p:nvSpPr>
          <p:spPr bwMode="auto">
            <a:xfrm>
              <a:off x="383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6" name="Freeform 53"/>
            <p:cNvSpPr>
              <a:spLocks/>
            </p:cNvSpPr>
            <p:nvPr/>
          </p:nvSpPr>
          <p:spPr bwMode="auto">
            <a:xfrm>
              <a:off x="3649" y="1995"/>
              <a:ext cx="219"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7" name="Freeform 54"/>
            <p:cNvSpPr>
              <a:spLocks/>
            </p:cNvSpPr>
            <p:nvPr/>
          </p:nvSpPr>
          <p:spPr bwMode="auto">
            <a:xfrm>
              <a:off x="3898" y="1728"/>
              <a:ext cx="264" cy="361"/>
            </a:xfrm>
            <a:custGeom>
              <a:avLst/>
              <a:gdLst>
                <a:gd name="T0" fmla="*/ 117 w 149"/>
                <a:gd name="T1" fmla="*/ 0 h 204"/>
                <a:gd name="T2" fmla="*/ 141 w 149"/>
                <a:gd name="T3" fmla="*/ 38 h 204"/>
                <a:gd name="T4" fmla="*/ 144 w 149"/>
                <a:gd name="T5" fmla="*/ 64 h 204"/>
                <a:gd name="T6" fmla="*/ 118 w 149"/>
                <a:gd name="T7" fmla="*/ 112 h 204"/>
                <a:gd name="T8" fmla="*/ 89 w 149"/>
                <a:gd name="T9" fmla="*/ 150 h 204"/>
                <a:gd name="T10" fmla="*/ 78 w 149"/>
                <a:gd name="T11" fmla="*/ 169 h 204"/>
                <a:gd name="T12" fmla="*/ 58 w 149"/>
                <a:gd name="T13" fmla="*/ 186 h 204"/>
                <a:gd name="T14" fmla="*/ 43 w 149"/>
                <a:gd name="T15" fmla="*/ 199 h 204"/>
                <a:gd name="T16" fmla="*/ 36 w 149"/>
                <a:gd name="T17" fmla="*/ 200 h 204"/>
                <a:gd name="T18" fmla="*/ 40 w 149"/>
                <a:gd name="T19" fmla="*/ 194 h 204"/>
                <a:gd name="T20" fmla="*/ 47 w 149"/>
                <a:gd name="T21" fmla="*/ 184 h 204"/>
                <a:gd name="T22" fmla="*/ 47 w 149"/>
                <a:gd name="T23" fmla="*/ 183 h 204"/>
                <a:gd name="T24" fmla="*/ 28 w 149"/>
                <a:gd name="T25" fmla="*/ 198 h 204"/>
                <a:gd name="T26" fmla="*/ 22 w 149"/>
                <a:gd name="T27" fmla="*/ 193 h 204"/>
                <a:gd name="T28" fmla="*/ 41 w 149"/>
                <a:gd name="T29" fmla="*/ 176 h 204"/>
                <a:gd name="T30" fmla="*/ 41 w 149"/>
                <a:gd name="T31" fmla="*/ 173 h 204"/>
                <a:gd name="T32" fmla="*/ 17 w 149"/>
                <a:gd name="T33" fmla="*/ 191 h 204"/>
                <a:gd name="T34" fmla="*/ 11 w 149"/>
                <a:gd name="T35" fmla="*/ 184 h 204"/>
                <a:gd name="T36" fmla="*/ 33 w 149"/>
                <a:gd name="T37" fmla="*/ 166 h 204"/>
                <a:gd name="T38" fmla="*/ 32 w 149"/>
                <a:gd name="T39" fmla="*/ 164 h 204"/>
                <a:gd name="T40" fmla="*/ 18 w 149"/>
                <a:gd name="T41" fmla="*/ 173 h 204"/>
                <a:gd name="T42" fmla="*/ 9 w 149"/>
                <a:gd name="T43" fmla="*/ 180 h 204"/>
                <a:gd name="T44" fmla="*/ 5 w 149"/>
                <a:gd name="T45" fmla="*/ 172 h 204"/>
                <a:gd name="T46" fmla="*/ 22 w 149"/>
                <a:gd name="T47" fmla="*/ 159 h 204"/>
                <a:gd name="T48" fmla="*/ 45 w 149"/>
                <a:gd name="T49" fmla="*/ 143 h 204"/>
                <a:gd name="T50" fmla="*/ 44 w 149"/>
                <a:gd name="T51" fmla="*/ 137 h 204"/>
                <a:gd name="T52" fmla="*/ 60 w 149"/>
                <a:gd name="T53" fmla="*/ 134 h 204"/>
                <a:gd name="T54" fmla="*/ 75 w 149"/>
                <a:gd name="T55" fmla="*/ 126 h 204"/>
                <a:gd name="T56" fmla="*/ 104 w 149"/>
                <a:gd name="T57" fmla="*/ 58 h 204"/>
                <a:gd name="T58" fmla="*/ 87 w 149"/>
                <a:gd name="T59" fmla="*/ 31 h 204"/>
                <a:gd name="T60" fmla="*/ 117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117" y="0"/>
                  </a:moveTo>
                  <a:cubicBezTo>
                    <a:pt x="141" y="38"/>
                    <a:pt x="141" y="38"/>
                    <a:pt x="141" y="38"/>
                  </a:cubicBezTo>
                  <a:cubicBezTo>
                    <a:pt x="149" y="50"/>
                    <a:pt x="148" y="53"/>
                    <a:pt x="144" y="64"/>
                  </a:cubicBezTo>
                  <a:cubicBezTo>
                    <a:pt x="137" y="83"/>
                    <a:pt x="130" y="95"/>
                    <a:pt x="118" y="112"/>
                  </a:cubicBezTo>
                  <a:cubicBezTo>
                    <a:pt x="105" y="131"/>
                    <a:pt x="103" y="125"/>
                    <a:pt x="89" y="150"/>
                  </a:cubicBezTo>
                  <a:cubicBezTo>
                    <a:pt x="83" y="160"/>
                    <a:pt x="82" y="165"/>
                    <a:pt x="78" y="169"/>
                  </a:cubicBezTo>
                  <a:cubicBezTo>
                    <a:pt x="71" y="176"/>
                    <a:pt x="65" y="180"/>
                    <a:pt x="58" y="186"/>
                  </a:cubicBezTo>
                  <a:cubicBezTo>
                    <a:pt x="54" y="189"/>
                    <a:pt x="49" y="193"/>
                    <a:pt x="43" y="199"/>
                  </a:cubicBezTo>
                  <a:cubicBezTo>
                    <a:pt x="40" y="202"/>
                    <a:pt x="38" y="201"/>
                    <a:pt x="36" y="200"/>
                  </a:cubicBezTo>
                  <a:cubicBezTo>
                    <a:pt x="35" y="199"/>
                    <a:pt x="36" y="199"/>
                    <a:pt x="40" y="194"/>
                  </a:cubicBezTo>
                  <a:cubicBezTo>
                    <a:pt x="47" y="184"/>
                    <a:pt x="47" y="184"/>
                    <a:pt x="47" y="184"/>
                  </a:cubicBezTo>
                  <a:cubicBezTo>
                    <a:pt x="51" y="180"/>
                    <a:pt x="52" y="179"/>
                    <a:pt x="47" y="183"/>
                  </a:cubicBezTo>
                  <a:cubicBezTo>
                    <a:pt x="40" y="188"/>
                    <a:pt x="35" y="192"/>
                    <a:pt x="28" y="198"/>
                  </a:cubicBezTo>
                  <a:cubicBezTo>
                    <a:pt x="22" y="204"/>
                    <a:pt x="17" y="199"/>
                    <a:pt x="22" y="193"/>
                  </a:cubicBezTo>
                  <a:cubicBezTo>
                    <a:pt x="41" y="176"/>
                    <a:pt x="41" y="176"/>
                    <a:pt x="41" y="176"/>
                  </a:cubicBezTo>
                  <a:cubicBezTo>
                    <a:pt x="44" y="172"/>
                    <a:pt x="44" y="171"/>
                    <a:pt x="41" y="173"/>
                  </a:cubicBezTo>
                  <a:cubicBezTo>
                    <a:pt x="33" y="180"/>
                    <a:pt x="24" y="184"/>
                    <a:pt x="17" y="191"/>
                  </a:cubicBezTo>
                  <a:cubicBezTo>
                    <a:pt x="8" y="196"/>
                    <a:pt x="5" y="189"/>
                    <a:pt x="11" y="184"/>
                  </a:cubicBezTo>
                  <a:cubicBezTo>
                    <a:pt x="13" y="182"/>
                    <a:pt x="26" y="171"/>
                    <a:pt x="33" y="166"/>
                  </a:cubicBezTo>
                  <a:cubicBezTo>
                    <a:pt x="40" y="161"/>
                    <a:pt x="35" y="162"/>
                    <a:pt x="32" y="164"/>
                  </a:cubicBezTo>
                  <a:cubicBezTo>
                    <a:pt x="27" y="167"/>
                    <a:pt x="22" y="170"/>
                    <a:pt x="18" y="173"/>
                  </a:cubicBezTo>
                  <a:cubicBezTo>
                    <a:pt x="15" y="175"/>
                    <a:pt x="12" y="178"/>
                    <a:pt x="9" y="180"/>
                  </a:cubicBezTo>
                  <a:cubicBezTo>
                    <a:pt x="3" y="183"/>
                    <a:pt x="0" y="177"/>
                    <a:pt x="5" y="172"/>
                  </a:cubicBezTo>
                  <a:cubicBezTo>
                    <a:pt x="9" y="168"/>
                    <a:pt x="16" y="163"/>
                    <a:pt x="22" y="159"/>
                  </a:cubicBezTo>
                  <a:cubicBezTo>
                    <a:pt x="45" y="143"/>
                    <a:pt x="45" y="143"/>
                    <a:pt x="45" y="143"/>
                  </a:cubicBezTo>
                  <a:cubicBezTo>
                    <a:pt x="45" y="142"/>
                    <a:pt x="43" y="138"/>
                    <a:pt x="44" y="137"/>
                  </a:cubicBezTo>
                  <a:cubicBezTo>
                    <a:pt x="47" y="135"/>
                    <a:pt x="54" y="135"/>
                    <a:pt x="60" y="134"/>
                  </a:cubicBezTo>
                  <a:cubicBezTo>
                    <a:pt x="71" y="134"/>
                    <a:pt x="69" y="135"/>
                    <a:pt x="75" y="126"/>
                  </a:cubicBezTo>
                  <a:cubicBezTo>
                    <a:pt x="91" y="101"/>
                    <a:pt x="89" y="90"/>
                    <a:pt x="104" y="58"/>
                  </a:cubicBezTo>
                  <a:cubicBezTo>
                    <a:pt x="87" y="31"/>
                    <a:pt x="87" y="31"/>
                    <a:pt x="87" y="31"/>
                  </a:cubicBezTo>
                  <a:lnTo>
                    <a:pt x="117"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8" name="Freeform 55"/>
            <p:cNvSpPr>
              <a:spLocks/>
            </p:cNvSpPr>
            <p:nvPr/>
          </p:nvSpPr>
          <p:spPr bwMode="auto">
            <a:xfrm>
              <a:off x="3571"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9" name="Freeform 56"/>
            <p:cNvSpPr>
              <a:spLocks/>
            </p:cNvSpPr>
            <p:nvPr/>
          </p:nvSpPr>
          <p:spPr bwMode="auto">
            <a:xfrm>
              <a:off x="3518"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20" name="Freeform 57"/>
            <p:cNvSpPr>
              <a:spLocks/>
            </p:cNvSpPr>
            <p:nvPr/>
          </p:nvSpPr>
          <p:spPr bwMode="auto">
            <a:xfrm>
              <a:off x="3770" y="1995"/>
              <a:ext cx="98"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spTree>
    <p:extLst>
      <p:ext uri="{BB962C8B-B14F-4D97-AF65-F5344CB8AC3E}">
        <p14:creationId xmlns:p14="http://schemas.microsoft.com/office/powerpoint/2010/main" val="217569250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grpSp>
        <p:nvGrpSpPr>
          <p:cNvPr id="4" name="Group 41"/>
          <p:cNvGrpSpPr>
            <a:grpSpLocks noChangeAspect="1"/>
          </p:cNvGrpSpPr>
          <p:nvPr userDrawn="1"/>
        </p:nvGrpSpPr>
        <p:grpSpPr bwMode="auto">
          <a:xfrm>
            <a:off x="4422307" y="1930400"/>
            <a:ext cx="1070486" cy="4041775"/>
            <a:chOff x="3518" y="1159"/>
            <a:chExt cx="644" cy="2006"/>
          </a:xfrm>
        </p:grpSpPr>
        <p:sp>
          <p:nvSpPr>
            <p:cNvPr id="5" name="Freeform 42"/>
            <p:cNvSpPr>
              <a:spLocks/>
            </p:cNvSpPr>
            <p:nvPr/>
          </p:nvSpPr>
          <p:spPr bwMode="auto">
            <a:xfrm>
              <a:off x="3713" y="1166"/>
              <a:ext cx="247"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 name="Freeform 43"/>
            <p:cNvSpPr>
              <a:spLocks/>
            </p:cNvSpPr>
            <p:nvPr/>
          </p:nvSpPr>
          <p:spPr bwMode="auto">
            <a:xfrm>
              <a:off x="3853" y="3037"/>
              <a:ext cx="116"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7" name="Freeform 44"/>
            <p:cNvSpPr>
              <a:spLocks/>
            </p:cNvSpPr>
            <p:nvPr/>
          </p:nvSpPr>
          <p:spPr bwMode="auto">
            <a:xfrm>
              <a:off x="3729"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8" name="Freeform 45"/>
            <p:cNvSpPr>
              <a:spLocks/>
            </p:cNvSpPr>
            <p:nvPr/>
          </p:nvSpPr>
          <p:spPr bwMode="auto">
            <a:xfrm>
              <a:off x="3647" y="1442"/>
              <a:ext cx="368"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9" name="Freeform 46"/>
            <p:cNvSpPr>
              <a:spLocks/>
            </p:cNvSpPr>
            <p:nvPr/>
          </p:nvSpPr>
          <p:spPr bwMode="auto">
            <a:xfrm>
              <a:off x="3784" y="1442"/>
              <a:ext cx="114"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0" name="Freeform 47"/>
            <p:cNvSpPr>
              <a:spLocks/>
            </p:cNvSpPr>
            <p:nvPr/>
          </p:nvSpPr>
          <p:spPr bwMode="auto">
            <a:xfrm>
              <a:off x="3722" y="1184"/>
              <a:ext cx="238"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1" name="Freeform 48"/>
            <p:cNvSpPr>
              <a:spLocks/>
            </p:cNvSpPr>
            <p:nvPr/>
          </p:nvSpPr>
          <p:spPr bwMode="auto">
            <a:xfrm>
              <a:off x="3702" y="1159"/>
              <a:ext cx="272"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2" name="Freeform 49"/>
            <p:cNvSpPr>
              <a:spLocks/>
            </p:cNvSpPr>
            <p:nvPr/>
          </p:nvSpPr>
          <p:spPr bwMode="auto">
            <a:xfrm>
              <a:off x="3656"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3" name="Freeform 50"/>
            <p:cNvSpPr>
              <a:spLocks/>
            </p:cNvSpPr>
            <p:nvPr/>
          </p:nvSpPr>
          <p:spPr bwMode="auto">
            <a:xfrm>
              <a:off x="3875" y="1546"/>
              <a:ext cx="145"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4" name="Freeform 51"/>
            <p:cNvSpPr>
              <a:spLocks/>
            </p:cNvSpPr>
            <p:nvPr/>
          </p:nvSpPr>
          <p:spPr bwMode="auto">
            <a:xfrm>
              <a:off x="3951" y="1541"/>
              <a:ext cx="158" cy="249"/>
            </a:xfrm>
            <a:custGeom>
              <a:avLst/>
              <a:gdLst>
                <a:gd name="T0" fmla="*/ 41 w 89"/>
                <a:gd name="T1" fmla="*/ 20 h 141"/>
                <a:gd name="T2" fmla="*/ 89 w 89"/>
                <a:gd name="T3" fmla="*/ 104 h 141"/>
                <a:gd name="T4" fmla="*/ 53 w 89"/>
                <a:gd name="T5" fmla="*/ 141 h 141"/>
                <a:gd name="T6" fmla="*/ 20 w 89"/>
                <a:gd name="T7" fmla="*/ 100 h 141"/>
                <a:gd name="T8" fmla="*/ 41 w 89"/>
                <a:gd name="T9" fmla="*/ 20 h 141"/>
              </a:gdLst>
              <a:ahLst/>
              <a:cxnLst>
                <a:cxn ang="0">
                  <a:pos x="T0" y="T1"/>
                </a:cxn>
                <a:cxn ang="0">
                  <a:pos x="T2" y="T3"/>
                </a:cxn>
                <a:cxn ang="0">
                  <a:pos x="T4" y="T5"/>
                </a:cxn>
                <a:cxn ang="0">
                  <a:pos x="T6" y="T7"/>
                </a:cxn>
                <a:cxn ang="0">
                  <a:pos x="T8" y="T9"/>
                </a:cxn>
              </a:cxnLst>
              <a:rect l="0" t="0" r="r" b="b"/>
              <a:pathLst>
                <a:path w="89" h="141">
                  <a:moveTo>
                    <a:pt x="41" y="20"/>
                  </a:moveTo>
                  <a:cubicBezTo>
                    <a:pt x="89" y="104"/>
                    <a:pt x="89" y="104"/>
                    <a:pt x="89" y="104"/>
                  </a:cubicBezTo>
                  <a:cubicBezTo>
                    <a:pt x="53" y="141"/>
                    <a:pt x="53" y="141"/>
                    <a:pt x="53" y="141"/>
                  </a:cubicBezTo>
                  <a:cubicBezTo>
                    <a:pt x="20" y="100"/>
                    <a:pt x="20" y="100"/>
                    <a:pt x="20" y="100"/>
                  </a:cubicBezTo>
                  <a:cubicBezTo>
                    <a:pt x="0" y="74"/>
                    <a:pt x="26" y="0"/>
                    <a:pt x="41" y="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5" name="Freeform 52"/>
            <p:cNvSpPr>
              <a:spLocks/>
            </p:cNvSpPr>
            <p:nvPr/>
          </p:nvSpPr>
          <p:spPr bwMode="auto">
            <a:xfrm>
              <a:off x="383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6" name="Freeform 53"/>
            <p:cNvSpPr>
              <a:spLocks/>
            </p:cNvSpPr>
            <p:nvPr/>
          </p:nvSpPr>
          <p:spPr bwMode="auto">
            <a:xfrm>
              <a:off x="3649" y="1995"/>
              <a:ext cx="219"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7" name="Freeform 54"/>
            <p:cNvSpPr>
              <a:spLocks/>
            </p:cNvSpPr>
            <p:nvPr/>
          </p:nvSpPr>
          <p:spPr bwMode="auto">
            <a:xfrm>
              <a:off x="3898" y="1728"/>
              <a:ext cx="264" cy="361"/>
            </a:xfrm>
            <a:custGeom>
              <a:avLst/>
              <a:gdLst>
                <a:gd name="T0" fmla="*/ 117 w 149"/>
                <a:gd name="T1" fmla="*/ 0 h 204"/>
                <a:gd name="T2" fmla="*/ 141 w 149"/>
                <a:gd name="T3" fmla="*/ 38 h 204"/>
                <a:gd name="T4" fmla="*/ 144 w 149"/>
                <a:gd name="T5" fmla="*/ 64 h 204"/>
                <a:gd name="T6" fmla="*/ 118 w 149"/>
                <a:gd name="T7" fmla="*/ 112 h 204"/>
                <a:gd name="T8" fmla="*/ 89 w 149"/>
                <a:gd name="T9" fmla="*/ 150 h 204"/>
                <a:gd name="T10" fmla="*/ 78 w 149"/>
                <a:gd name="T11" fmla="*/ 169 h 204"/>
                <a:gd name="T12" fmla="*/ 58 w 149"/>
                <a:gd name="T13" fmla="*/ 186 h 204"/>
                <a:gd name="T14" fmla="*/ 43 w 149"/>
                <a:gd name="T15" fmla="*/ 199 h 204"/>
                <a:gd name="T16" fmla="*/ 36 w 149"/>
                <a:gd name="T17" fmla="*/ 200 h 204"/>
                <a:gd name="T18" fmla="*/ 40 w 149"/>
                <a:gd name="T19" fmla="*/ 194 h 204"/>
                <a:gd name="T20" fmla="*/ 47 w 149"/>
                <a:gd name="T21" fmla="*/ 184 h 204"/>
                <a:gd name="T22" fmla="*/ 47 w 149"/>
                <a:gd name="T23" fmla="*/ 183 h 204"/>
                <a:gd name="T24" fmla="*/ 28 w 149"/>
                <a:gd name="T25" fmla="*/ 198 h 204"/>
                <a:gd name="T26" fmla="*/ 22 w 149"/>
                <a:gd name="T27" fmla="*/ 193 h 204"/>
                <a:gd name="T28" fmla="*/ 41 w 149"/>
                <a:gd name="T29" fmla="*/ 176 h 204"/>
                <a:gd name="T30" fmla="*/ 41 w 149"/>
                <a:gd name="T31" fmla="*/ 173 h 204"/>
                <a:gd name="T32" fmla="*/ 17 w 149"/>
                <a:gd name="T33" fmla="*/ 191 h 204"/>
                <a:gd name="T34" fmla="*/ 11 w 149"/>
                <a:gd name="T35" fmla="*/ 184 h 204"/>
                <a:gd name="T36" fmla="*/ 33 w 149"/>
                <a:gd name="T37" fmla="*/ 166 h 204"/>
                <a:gd name="T38" fmla="*/ 32 w 149"/>
                <a:gd name="T39" fmla="*/ 164 h 204"/>
                <a:gd name="T40" fmla="*/ 18 w 149"/>
                <a:gd name="T41" fmla="*/ 173 h 204"/>
                <a:gd name="T42" fmla="*/ 9 w 149"/>
                <a:gd name="T43" fmla="*/ 180 h 204"/>
                <a:gd name="T44" fmla="*/ 5 w 149"/>
                <a:gd name="T45" fmla="*/ 172 h 204"/>
                <a:gd name="T46" fmla="*/ 22 w 149"/>
                <a:gd name="T47" fmla="*/ 159 h 204"/>
                <a:gd name="T48" fmla="*/ 45 w 149"/>
                <a:gd name="T49" fmla="*/ 143 h 204"/>
                <a:gd name="T50" fmla="*/ 44 w 149"/>
                <a:gd name="T51" fmla="*/ 137 h 204"/>
                <a:gd name="T52" fmla="*/ 60 w 149"/>
                <a:gd name="T53" fmla="*/ 134 h 204"/>
                <a:gd name="T54" fmla="*/ 75 w 149"/>
                <a:gd name="T55" fmla="*/ 126 h 204"/>
                <a:gd name="T56" fmla="*/ 104 w 149"/>
                <a:gd name="T57" fmla="*/ 58 h 204"/>
                <a:gd name="T58" fmla="*/ 87 w 149"/>
                <a:gd name="T59" fmla="*/ 31 h 204"/>
                <a:gd name="T60" fmla="*/ 117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117" y="0"/>
                  </a:moveTo>
                  <a:cubicBezTo>
                    <a:pt x="141" y="38"/>
                    <a:pt x="141" y="38"/>
                    <a:pt x="141" y="38"/>
                  </a:cubicBezTo>
                  <a:cubicBezTo>
                    <a:pt x="149" y="50"/>
                    <a:pt x="148" y="53"/>
                    <a:pt x="144" y="64"/>
                  </a:cubicBezTo>
                  <a:cubicBezTo>
                    <a:pt x="137" y="83"/>
                    <a:pt x="130" y="95"/>
                    <a:pt x="118" y="112"/>
                  </a:cubicBezTo>
                  <a:cubicBezTo>
                    <a:pt x="105" y="131"/>
                    <a:pt x="103" y="125"/>
                    <a:pt x="89" y="150"/>
                  </a:cubicBezTo>
                  <a:cubicBezTo>
                    <a:pt x="83" y="160"/>
                    <a:pt x="82" y="165"/>
                    <a:pt x="78" y="169"/>
                  </a:cubicBezTo>
                  <a:cubicBezTo>
                    <a:pt x="71" y="176"/>
                    <a:pt x="65" y="180"/>
                    <a:pt x="58" y="186"/>
                  </a:cubicBezTo>
                  <a:cubicBezTo>
                    <a:pt x="54" y="189"/>
                    <a:pt x="49" y="193"/>
                    <a:pt x="43" y="199"/>
                  </a:cubicBezTo>
                  <a:cubicBezTo>
                    <a:pt x="40" y="202"/>
                    <a:pt x="38" y="201"/>
                    <a:pt x="36" y="200"/>
                  </a:cubicBezTo>
                  <a:cubicBezTo>
                    <a:pt x="35" y="199"/>
                    <a:pt x="36" y="199"/>
                    <a:pt x="40" y="194"/>
                  </a:cubicBezTo>
                  <a:cubicBezTo>
                    <a:pt x="47" y="184"/>
                    <a:pt x="47" y="184"/>
                    <a:pt x="47" y="184"/>
                  </a:cubicBezTo>
                  <a:cubicBezTo>
                    <a:pt x="51" y="180"/>
                    <a:pt x="52" y="179"/>
                    <a:pt x="47" y="183"/>
                  </a:cubicBezTo>
                  <a:cubicBezTo>
                    <a:pt x="40" y="188"/>
                    <a:pt x="35" y="192"/>
                    <a:pt x="28" y="198"/>
                  </a:cubicBezTo>
                  <a:cubicBezTo>
                    <a:pt x="22" y="204"/>
                    <a:pt x="17" y="199"/>
                    <a:pt x="22" y="193"/>
                  </a:cubicBezTo>
                  <a:cubicBezTo>
                    <a:pt x="41" y="176"/>
                    <a:pt x="41" y="176"/>
                    <a:pt x="41" y="176"/>
                  </a:cubicBezTo>
                  <a:cubicBezTo>
                    <a:pt x="44" y="172"/>
                    <a:pt x="44" y="171"/>
                    <a:pt x="41" y="173"/>
                  </a:cubicBezTo>
                  <a:cubicBezTo>
                    <a:pt x="33" y="180"/>
                    <a:pt x="24" y="184"/>
                    <a:pt x="17" y="191"/>
                  </a:cubicBezTo>
                  <a:cubicBezTo>
                    <a:pt x="8" y="196"/>
                    <a:pt x="5" y="189"/>
                    <a:pt x="11" y="184"/>
                  </a:cubicBezTo>
                  <a:cubicBezTo>
                    <a:pt x="13" y="182"/>
                    <a:pt x="26" y="171"/>
                    <a:pt x="33" y="166"/>
                  </a:cubicBezTo>
                  <a:cubicBezTo>
                    <a:pt x="40" y="161"/>
                    <a:pt x="35" y="162"/>
                    <a:pt x="32" y="164"/>
                  </a:cubicBezTo>
                  <a:cubicBezTo>
                    <a:pt x="27" y="167"/>
                    <a:pt x="22" y="170"/>
                    <a:pt x="18" y="173"/>
                  </a:cubicBezTo>
                  <a:cubicBezTo>
                    <a:pt x="15" y="175"/>
                    <a:pt x="12" y="178"/>
                    <a:pt x="9" y="180"/>
                  </a:cubicBezTo>
                  <a:cubicBezTo>
                    <a:pt x="3" y="183"/>
                    <a:pt x="0" y="177"/>
                    <a:pt x="5" y="172"/>
                  </a:cubicBezTo>
                  <a:cubicBezTo>
                    <a:pt x="9" y="168"/>
                    <a:pt x="16" y="163"/>
                    <a:pt x="22" y="159"/>
                  </a:cubicBezTo>
                  <a:cubicBezTo>
                    <a:pt x="45" y="143"/>
                    <a:pt x="45" y="143"/>
                    <a:pt x="45" y="143"/>
                  </a:cubicBezTo>
                  <a:cubicBezTo>
                    <a:pt x="45" y="142"/>
                    <a:pt x="43" y="138"/>
                    <a:pt x="44" y="137"/>
                  </a:cubicBezTo>
                  <a:cubicBezTo>
                    <a:pt x="47" y="135"/>
                    <a:pt x="54" y="135"/>
                    <a:pt x="60" y="134"/>
                  </a:cubicBezTo>
                  <a:cubicBezTo>
                    <a:pt x="71" y="134"/>
                    <a:pt x="69" y="135"/>
                    <a:pt x="75" y="126"/>
                  </a:cubicBezTo>
                  <a:cubicBezTo>
                    <a:pt x="91" y="101"/>
                    <a:pt x="89" y="90"/>
                    <a:pt x="104" y="58"/>
                  </a:cubicBezTo>
                  <a:cubicBezTo>
                    <a:pt x="87" y="31"/>
                    <a:pt x="87" y="31"/>
                    <a:pt x="87" y="31"/>
                  </a:cubicBezTo>
                  <a:lnTo>
                    <a:pt x="117"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8" name="Freeform 55"/>
            <p:cNvSpPr>
              <a:spLocks/>
            </p:cNvSpPr>
            <p:nvPr/>
          </p:nvSpPr>
          <p:spPr bwMode="auto">
            <a:xfrm>
              <a:off x="3571"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9" name="Freeform 56"/>
            <p:cNvSpPr>
              <a:spLocks/>
            </p:cNvSpPr>
            <p:nvPr/>
          </p:nvSpPr>
          <p:spPr bwMode="auto">
            <a:xfrm>
              <a:off x="3518"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20" name="Freeform 57"/>
            <p:cNvSpPr>
              <a:spLocks/>
            </p:cNvSpPr>
            <p:nvPr/>
          </p:nvSpPr>
          <p:spPr bwMode="auto">
            <a:xfrm>
              <a:off x="3770" y="1995"/>
              <a:ext cx="98"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spTree>
    <p:extLst>
      <p:ext uri="{BB962C8B-B14F-4D97-AF65-F5344CB8AC3E}">
        <p14:creationId xmlns:p14="http://schemas.microsoft.com/office/powerpoint/2010/main" val="6274310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grpSp>
        <p:nvGrpSpPr>
          <p:cNvPr id="4" name="Group 41"/>
          <p:cNvGrpSpPr>
            <a:grpSpLocks noChangeAspect="1"/>
          </p:cNvGrpSpPr>
          <p:nvPr userDrawn="1"/>
        </p:nvGrpSpPr>
        <p:grpSpPr bwMode="auto">
          <a:xfrm>
            <a:off x="4422307" y="1930400"/>
            <a:ext cx="1070486" cy="4041775"/>
            <a:chOff x="3518" y="1159"/>
            <a:chExt cx="644" cy="2006"/>
          </a:xfrm>
        </p:grpSpPr>
        <p:sp>
          <p:nvSpPr>
            <p:cNvPr id="5" name="Freeform 42"/>
            <p:cNvSpPr>
              <a:spLocks/>
            </p:cNvSpPr>
            <p:nvPr/>
          </p:nvSpPr>
          <p:spPr bwMode="auto">
            <a:xfrm>
              <a:off x="3713" y="1166"/>
              <a:ext cx="247"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 name="Freeform 43"/>
            <p:cNvSpPr>
              <a:spLocks/>
            </p:cNvSpPr>
            <p:nvPr/>
          </p:nvSpPr>
          <p:spPr bwMode="auto">
            <a:xfrm>
              <a:off x="3853" y="3037"/>
              <a:ext cx="116"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7" name="Freeform 44"/>
            <p:cNvSpPr>
              <a:spLocks/>
            </p:cNvSpPr>
            <p:nvPr/>
          </p:nvSpPr>
          <p:spPr bwMode="auto">
            <a:xfrm>
              <a:off x="3729"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8" name="Freeform 45"/>
            <p:cNvSpPr>
              <a:spLocks/>
            </p:cNvSpPr>
            <p:nvPr/>
          </p:nvSpPr>
          <p:spPr bwMode="auto">
            <a:xfrm>
              <a:off x="3647" y="1442"/>
              <a:ext cx="368"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9" name="Freeform 46"/>
            <p:cNvSpPr>
              <a:spLocks/>
            </p:cNvSpPr>
            <p:nvPr/>
          </p:nvSpPr>
          <p:spPr bwMode="auto">
            <a:xfrm>
              <a:off x="3784" y="1442"/>
              <a:ext cx="114"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0" name="Freeform 47"/>
            <p:cNvSpPr>
              <a:spLocks/>
            </p:cNvSpPr>
            <p:nvPr/>
          </p:nvSpPr>
          <p:spPr bwMode="auto">
            <a:xfrm>
              <a:off x="3722" y="1184"/>
              <a:ext cx="238"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1" name="Freeform 48"/>
            <p:cNvSpPr>
              <a:spLocks/>
            </p:cNvSpPr>
            <p:nvPr/>
          </p:nvSpPr>
          <p:spPr bwMode="auto">
            <a:xfrm>
              <a:off x="3702" y="1159"/>
              <a:ext cx="272"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2" name="Freeform 49"/>
            <p:cNvSpPr>
              <a:spLocks/>
            </p:cNvSpPr>
            <p:nvPr/>
          </p:nvSpPr>
          <p:spPr bwMode="auto">
            <a:xfrm>
              <a:off x="3656"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3" name="Freeform 50"/>
            <p:cNvSpPr>
              <a:spLocks/>
            </p:cNvSpPr>
            <p:nvPr/>
          </p:nvSpPr>
          <p:spPr bwMode="auto">
            <a:xfrm>
              <a:off x="3875" y="1546"/>
              <a:ext cx="145"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4" name="Freeform 51"/>
            <p:cNvSpPr>
              <a:spLocks/>
            </p:cNvSpPr>
            <p:nvPr/>
          </p:nvSpPr>
          <p:spPr bwMode="auto">
            <a:xfrm>
              <a:off x="3951" y="1541"/>
              <a:ext cx="158" cy="249"/>
            </a:xfrm>
            <a:custGeom>
              <a:avLst/>
              <a:gdLst>
                <a:gd name="T0" fmla="*/ 41 w 89"/>
                <a:gd name="T1" fmla="*/ 20 h 141"/>
                <a:gd name="T2" fmla="*/ 89 w 89"/>
                <a:gd name="T3" fmla="*/ 104 h 141"/>
                <a:gd name="T4" fmla="*/ 53 w 89"/>
                <a:gd name="T5" fmla="*/ 141 h 141"/>
                <a:gd name="T6" fmla="*/ 20 w 89"/>
                <a:gd name="T7" fmla="*/ 100 h 141"/>
                <a:gd name="T8" fmla="*/ 41 w 89"/>
                <a:gd name="T9" fmla="*/ 20 h 141"/>
              </a:gdLst>
              <a:ahLst/>
              <a:cxnLst>
                <a:cxn ang="0">
                  <a:pos x="T0" y="T1"/>
                </a:cxn>
                <a:cxn ang="0">
                  <a:pos x="T2" y="T3"/>
                </a:cxn>
                <a:cxn ang="0">
                  <a:pos x="T4" y="T5"/>
                </a:cxn>
                <a:cxn ang="0">
                  <a:pos x="T6" y="T7"/>
                </a:cxn>
                <a:cxn ang="0">
                  <a:pos x="T8" y="T9"/>
                </a:cxn>
              </a:cxnLst>
              <a:rect l="0" t="0" r="r" b="b"/>
              <a:pathLst>
                <a:path w="89" h="141">
                  <a:moveTo>
                    <a:pt x="41" y="20"/>
                  </a:moveTo>
                  <a:cubicBezTo>
                    <a:pt x="89" y="104"/>
                    <a:pt x="89" y="104"/>
                    <a:pt x="89" y="104"/>
                  </a:cubicBezTo>
                  <a:cubicBezTo>
                    <a:pt x="53" y="141"/>
                    <a:pt x="53" y="141"/>
                    <a:pt x="53" y="141"/>
                  </a:cubicBezTo>
                  <a:cubicBezTo>
                    <a:pt x="20" y="100"/>
                    <a:pt x="20" y="100"/>
                    <a:pt x="20" y="100"/>
                  </a:cubicBezTo>
                  <a:cubicBezTo>
                    <a:pt x="0" y="74"/>
                    <a:pt x="26" y="0"/>
                    <a:pt x="41" y="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5" name="Freeform 52"/>
            <p:cNvSpPr>
              <a:spLocks/>
            </p:cNvSpPr>
            <p:nvPr/>
          </p:nvSpPr>
          <p:spPr bwMode="auto">
            <a:xfrm>
              <a:off x="383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6" name="Freeform 53"/>
            <p:cNvSpPr>
              <a:spLocks/>
            </p:cNvSpPr>
            <p:nvPr/>
          </p:nvSpPr>
          <p:spPr bwMode="auto">
            <a:xfrm>
              <a:off x="3649" y="1995"/>
              <a:ext cx="219"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7" name="Freeform 54"/>
            <p:cNvSpPr>
              <a:spLocks/>
            </p:cNvSpPr>
            <p:nvPr/>
          </p:nvSpPr>
          <p:spPr bwMode="auto">
            <a:xfrm>
              <a:off x="3898" y="1728"/>
              <a:ext cx="264" cy="361"/>
            </a:xfrm>
            <a:custGeom>
              <a:avLst/>
              <a:gdLst>
                <a:gd name="T0" fmla="*/ 117 w 149"/>
                <a:gd name="T1" fmla="*/ 0 h 204"/>
                <a:gd name="T2" fmla="*/ 141 w 149"/>
                <a:gd name="T3" fmla="*/ 38 h 204"/>
                <a:gd name="T4" fmla="*/ 144 w 149"/>
                <a:gd name="T5" fmla="*/ 64 h 204"/>
                <a:gd name="T6" fmla="*/ 118 w 149"/>
                <a:gd name="T7" fmla="*/ 112 h 204"/>
                <a:gd name="T8" fmla="*/ 89 w 149"/>
                <a:gd name="T9" fmla="*/ 150 h 204"/>
                <a:gd name="T10" fmla="*/ 78 w 149"/>
                <a:gd name="T11" fmla="*/ 169 h 204"/>
                <a:gd name="T12" fmla="*/ 58 w 149"/>
                <a:gd name="T13" fmla="*/ 186 h 204"/>
                <a:gd name="T14" fmla="*/ 43 w 149"/>
                <a:gd name="T15" fmla="*/ 199 h 204"/>
                <a:gd name="T16" fmla="*/ 36 w 149"/>
                <a:gd name="T17" fmla="*/ 200 h 204"/>
                <a:gd name="T18" fmla="*/ 40 w 149"/>
                <a:gd name="T19" fmla="*/ 194 h 204"/>
                <a:gd name="T20" fmla="*/ 47 w 149"/>
                <a:gd name="T21" fmla="*/ 184 h 204"/>
                <a:gd name="T22" fmla="*/ 47 w 149"/>
                <a:gd name="T23" fmla="*/ 183 h 204"/>
                <a:gd name="T24" fmla="*/ 28 w 149"/>
                <a:gd name="T25" fmla="*/ 198 h 204"/>
                <a:gd name="T26" fmla="*/ 22 w 149"/>
                <a:gd name="T27" fmla="*/ 193 h 204"/>
                <a:gd name="T28" fmla="*/ 41 w 149"/>
                <a:gd name="T29" fmla="*/ 176 h 204"/>
                <a:gd name="T30" fmla="*/ 41 w 149"/>
                <a:gd name="T31" fmla="*/ 173 h 204"/>
                <a:gd name="T32" fmla="*/ 17 w 149"/>
                <a:gd name="T33" fmla="*/ 191 h 204"/>
                <a:gd name="T34" fmla="*/ 11 w 149"/>
                <a:gd name="T35" fmla="*/ 184 h 204"/>
                <a:gd name="T36" fmla="*/ 33 w 149"/>
                <a:gd name="T37" fmla="*/ 166 h 204"/>
                <a:gd name="T38" fmla="*/ 32 w 149"/>
                <a:gd name="T39" fmla="*/ 164 h 204"/>
                <a:gd name="T40" fmla="*/ 18 w 149"/>
                <a:gd name="T41" fmla="*/ 173 h 204"/>
                <a:gd name="T42" fmla="*/ 9 w 149"/>
                <a:gd name="T43" fmla="*/ 180 h 204"/>
                <a:gd name="T44" fmla="*/ 5 w 149"/>
                <a:gd name="T45" fmla="*/ 172 h 204"/>
                <a:gd name="T46" fmla="*/ 22 w 149"/>
                <a:gd name="T47" fmla="*/ 159 h 204"/>
                <a:gd name="T48" fmla="*/ 45 w 149"/>
                <a:gd name="T49" fmla="*/ 143 h 204"/>
                <a:gd name="T50" fmla="*/ 44 w 149"/>
                <a:gd name="T51" fmla="*/ 137 h 204"/>
                <a:gd name="T52" fmla="*/ 60 w 149"/>
                <a:gd name="T53" fmla="*/ 134 h 204"/>
                <a:gd name="T54" fmla="*/ 75 w 149"/>
                <a:gd name="T55" fmla="*/ 126 h 204"/>
                <a:gd name="T56" fmla="*/ 104 w 149"/>
                <a:gd name="T57" fmla="*/ 58 h 204"/>
                <a:gd name="T58" fmla="*/ 87 w 149"/>
                <a:gd name="T59" fmla="*/ 31 h 204"/>
                <a:gd name="T60" fmla="*/ 117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117" y="0"/>
                  </a:moveTo>
                  <a:cubicBezTo>
                    <a:pt x="141" y="38"/>
                    <a:pt x="141" y="38"/>
                    <a:pt x="141" y="38"/>
                  </a:cubicBezTo>
                  <a:cubicBezTo>
                    <a:pt x="149" y="50"/>
                    <a:pt x="148" y="53"/>
                    <a:pt x="144" y="64"/>
                  </a:cubicBezTo>
                  <a:cubicBezTo>
                    <a:pt x="137" y="83"/>
                    <a:pt x="130" y="95"/>
                    <a:pt x="118" y="112"/>
                  </a:cubicBezTo>
                  <a:cubicBezTo>
                    <a:pt x="105" y="131"/>
                    <a:pt x="103" y="125"/>
                    <a:pt x="89" y="150"/>
                  </a:cubicBezTo>
                  <a:cubicBezTo>
                    <a:pt x="83" y="160"/>
                    <a:pt x="82" y="165"/>
                    <a:pt x="78" y="169"/>
                  </a:cubicBezTo>
                  <a:cubicBezTo>
                    <a:pt x="71" y="176"/>
                    <a:pt x="65" y="180"/>
                    <a:pt x="58" y="186"/>
                  </a:cubicBezTo>
                  <a:cubicBezTo>
                    <a:pt x="54" y="189"/>
                    <a:pt x="49" y="193"/>
                    <a:pt x="43" y="199"/>
                  </a:cubicBezTo>
                  <a:cubicBezTo>
                    <a:pt x="40" y="202"/>
                    <a:pt x="38" y="201"/>
                    <a:pt x="36" y="200"/>
                  </a:cubicBezTo>
                  <a:cubicBezTo>
                    <a:pt x="35" y="199"/>
                    <a:pt x="36" y="199"/>
                    <a:pt x="40" y="194"/>
                  </a:cubicBezTo>
                  <a:cubicBezTo>
                    <a:pt x="47" y="184"/>
                    <a:pt x="47" y="184"/>
                    <a:pt x="47" y="184"/>
                  </a:cubicBezTo>
                  <a:cubicBezTo>
                    <a:pt x="51" y="180"/>
                    <a:pt x="52" y="179"/>
                    <a:pt x="47" y="183"/>
                  </a:cubicBezTo>
                  <a:cubicBezTo>
                    <a:pt x="40" y="188"/>
                    <a:pt x="35" y="192"/>
                    <a:pt x="28" y="198"/>
                  </a:cubicBezTo>
                  <a:cubicBezTo>
                    <a:pt x="22" y="204"/>
                    <a:pt x="17" y="199"/>
                    <a:pt x="22" y="193"/>
                  </a:cubicBezTo>
                  <a:cubicBezTo>
                    <a:pt x="41" y="176"/>
                    <a:pt x="41" y="176"/>
                    <a:pt x="41" y="176"/>
                  </a:cubicBezTo>
                  <a:cubicBezTo>
                    <a:pt x="44" y="172"/>
                    <a:pt x="44" y="171"/>
                    <a:pt x="41" y="173"/>
                  </a:cubicBezTo>
                  <a:cubicBezTo>
                    <a:pt x="33" y="180"/>
                    <a:pt x="24" y="184"/>
                    <a:pt x="17" y="191"/>
                  </a:cubicBezTo>
                  <a:cubicBezTo>
                    <a:pt x="8" y="196"/>
                    <a:pt x="5" y="189"/>
                    <a:pt x="11" y="184"/>
                  </a:cubicBezTo>
                  <a:cubicBezTo>
                    <a:pt x="13" y="182"/>
                    <a:pt x="26" y="171"/>
                    <a:pt x="33" y="166"/>
                  </a:cubicBezTo>
                  <a:cubicBezTo>
                    <a:pt x="40" y="161"/>
                    <a:pt x="35" y="162"/>
                    <a:pt x="32" y="164"/>
                  </a:cubicBezTo>
                  <a:cubicBezTo>
                    <a:pt x="27" y="167"/>
                    <a:pt x="22" y="170"/>
                    <a:pt x="18" y="173"/>
                  </a:cubicBezTo>
                  <a:cubicBezTo>
                    <a:pt x="15" y="175"/>
                    <a:pt x="12" y="178"/>
                    <a:pt x="9" y="180"/>
                  </a:cubicBezTo>
                  <a:cubicBezTo>
                    <a:pt x="3" y="183"/>
                    <a:pt x="0" y="177"/>
                    <a:pt x="5" y="172"/>
                  </a:cubicBezTo>
                  <a:cubicBezTo>
                    <a:pt x="9" y="168"/>
                    <a:pt x="16" y="163"/>
                    <a:pt x="22" y="159"/>
                  </a:cubicBezTo>
                  <a:cubicBezTo>
                    <a:pt x="45" y="143"/>
                    <a:pt x="45" y="143"/>
                    <a:pt x="45" y="143"/>
                  </a:cubicBezTo>
                  <a:cubicBezTo>
                    <a:pt x="45" y="142"/>
                    <a:pt x="43" y="138"/>
                    <a:pt x="44" y="137"/>
                  </a:cubicBezTo>
                  <a:cubicBezTo>
                    <a:pt x="47" y="135"/>
                    <a:pt x="54" y="135"/>
                    <a:pt x="60" y="134"/>
                  </a:cubicBezTo>
                  <a:cubicBezTo>
                    <a:pt x="71" y="134"/>
                    <a:pt x="69" y="135"/>
                    <a:pt x="75" y="126"/>
                  </a:cubicBezTo>
                  <a:cubicBezTo>
                    <a:pt x="91" y="101"/>
                    <a:pt x="89" y="90"/>
                    <a:pt x="104" y="58"/>
                  </a:cubicBezTo>
                  <a:cubicBezTo>
                    <a:pt x="87" y="31"/>
                    <a:pt x="87" y="31"/>
                    <a:pt x="87" y="31"/>
                  </a:cubicBezTo>
                  <a:lnTo>
                    <a:pt x="117"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8" name="Freeform 55"/>
            <p:cNvSpPr>
              <a:spLocks/>
            </p:cNvSpPr>
            <p:nvPr/>
          </p:nvSpPr>
          <p:spPr bwMode="auto">
            <a:xfrm>
              <a:off x="3571"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9" name="Freeform 56"/>
            <p:cNvSpPr>
              <a:spLocks/>
            </p:cNvSpPr>
            <p:nvPr/>
          </p:nvSpPr>
          <p:spPr bwMode="auto">
            <a:xfrm>
              <a:off x="3518"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20" name="Freeform 57"/>
            <p:cNvSpPr>
              <a:spLocks/>
            </p:cNvSpPr>
            <p:nvPr/>
          </p:nvSpPr>
          <p:spPr bwMode="auto">
            <a:xfrm>
              <a:off x="3770" y="1995"/>
              <a:ext cx="98"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grpSp>
        <p:nvGrpSpPr>
          <p:cNvPr id="65" name="Group 64"/>
          <p:cNvGrpSpPr/>
          <p:nvPr userDrawn="1"/>
        </p:nvGrpSpPr>
        <p:grpSpPr>
          <a:xfrm>
            <a:off x="3395039" y="1930400"/>
            <a:ext cx="1333120" cy="4041775"/>
            <a:chOff x="6695350" y="1930399"/>
            <a:chExt cx="1615903" cy="4041775"/>
          </a:xfrm>
        </p:grpSpPr>
        <p:grpSp>
          <p:nvGrpSpPr>
            <p:cNvPr id="44" name="Group 4"/>
            <p:cNvGrpSpPr>
              <a:grpSpLocks noChangeAspect="1"/>
            </p:cNvGrpSpPr>
            <p:nvPr userDrawn="1"/>
          </p:nvGrpSpPr>
          <p:grpSpPr bwMode="auto">
            <a:xfrm>
              <a:off x="6695350" y="1930399"/>
              <a:ext cx="1045704" cy="4041775"/>
              <a:chOff x="3309" y="1159"/>
              <a:chExt cx="519" cy="2006"/>
            </a:xfrm>
          </p:grpSpPr>
          <p:sp>
            <p:nvSpPr>
              <p:cNvPr id="47" name="Freeform 46"/>
              <p:cNvSpPr>
                <a:spLocks/>
              </p:cNvSpPr>
              <p:nvPr/>
            </p:nvSpPr>
            <p:spPr bwMode="auto">
              <a:xfrm>
                <a:off x="3504" y="1166"/>
                <a:ext cx="246"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48" name="Freeform 47"/>
              <p:cNvSpPr>
                <a:spLocks/>
              </p:cNvSpPr>
              <p:nvPr/>
            </p:nvSpPr>
            <p:spPr bwMode="auto">
              <a:xfrm>
                <a:off x="3644" y="3037"/>
                <a:ext cx="115"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49" name="Freeform 48"/>
              <p:cNvSpPr>
                <a:spLocks/>
              </p:cNvSpPr>
              <p:nvPr/>
            </p:nvSpPr>
            <p:spPr bwMode="auto">
              <a:xfrm>
                <a:off x="3520"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0" name="Freeform 49"/>
              <p:cNvSpPr>
                <a:spLocks/>
              </p:cNvSpPr>
              <p:nvPr/>
            </p:nvSpPr>
            <p:spPr bwMode="auto">
              <a:xfrm>
                <a:off x="3439" y="1442"/>
                <a:ext cx="366"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1" name="Freeform 50"/>
              <p:cNvSpPr>
                <a:spLocks/>
              </p:cNvSpPr>
              <p:nvPr/>
            </p:nvSpPr>
            <p:spPr bwMode="auto">
              <a:xfrm>
                <a:off x="3575" y="1442"/>
                <a:ext cx="113"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2" name="Freeform 51"/>
              <p:cNvSpPr>
                <a:spLocks/>
              </p:cNvSpPr>
              <p:nvPr/>
            </p:nvSpPr>
            <p:spPr bwMode="auto">
              <a:xfrm>
                <a:off x="3513" y="1184"/>
                <a:ext cx="237"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3" name="Freeform 52"/>
              <p:cNvSpPr>
                <a:spLocks/>
              </p:cNvSpPr>
              <p:nvPr/>
            </p:nvSpPr>
            <p:spPr bwMode="auto">
              <a:xfrm>
                <a:off x="3494" y="1159"/>
                <a:ext cx="271"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4" name="Freeform 53"/>
              <p:cNvSpPr>
                <a:spLocks/>
              </p:cNvSpPr>
              <p:nvPr/>
            </p:nvSpPr>
            <p:spPr bwMode="auto">
              <a:xfrm>
                <a:off x="3447"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5" name="Freeform 54"/>
              <p:cNvSpPr>
                <a:spLocks/>
              </p:cNvSpPr>
              <p:nvPr/>
            </p:nvSpPr>
            <p:spPr bwMode="auto">
              <a:xfrm>
                <a:off x="3665" y="1546"/>
                <a:ext cx="146"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6" name="Freeform 55"/>
              <p:cNvSpPr>
                <a:spLocks/>
              </p:cNvSpPr>
              <p:nvPr/>
            </p:nvSpPr>
            <p:spPr bwMode="auto">
              <a:xfrm>
                <a:off x="362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7" name="Freeform 56"/>
              <p:cNvSpPr>
                <a:spLocks/>
              </p:cNvSpPr>
              <p:nvPr/>
            </p:nvSpPr>
            <p:spPr bwMode="auto">
              <a:xfrm>
                <a:off x="3440" y="1995"/>
                <a:ext cx="218"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8" name="Freeform 57"/>
              <p:cNvSpPr>
                <a:spLocks/>
              </p:cNvSpPr>
              <p:nvPr/>
            </p:nvSpPr>
            <p:spPr bwMode="auto">
              <a:xfrm>
                <a:off x="3362"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9" name="Freeform 58"/>
              <p:cNvSpPr>
                <a:spLocks/>
              </p:cNvSpPr>
              <p:nvPr/>
            </p:nvSpPr>
            <p:spPr bwMode="auto">
              <a:xfrm>
                <a:off x="3309"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0" name="Freeform 59"/>
              <p:cNvSpPr>
                <a:spLocks/>
              </p:cNvSpPr>
              <p:nvPr/>
            </p:nvSpPr>
            <p:spPr bwMode="auto">
              <a:xfrm>
                <a:off x="3561" y="1995"/>
                <a:ext cx="97"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grpSp>
          <p:nvGrpSpPr>
            <p:cNvPr id="62" name="Group 4"/>
            <p:cNvGrpSpPr>
              <a:grpSpLocks noChangeAspect="1"/>
            </p:cNvGrpSpPr>
            <p:nvPr userDrawn="1"/>
          </p:nvGrpSpPr>
          <p:grpSpPr bwMode="auto">
            <a:xfrm>
              <a:off x="7592657" y="2724248"/>
              <a:ext cx="718596" cy="657562"/>
              <a:chOff x="3529" y="1878"/>
              <a:chExt cx="624" cy="571"/>
            </a:xfrm>
          </p:grpSpPr>
          <p:sp>
            <p:nvSpPr>
              <p:cNvPr id="63" name="Freeform 5"/>
              <p:cNvSpPr>
                <a:spLocks/>
              </p:cNvSpPr>
              <p:nvPr userDrawn="1"/>
            </p:nvSpPr>
            <p:spPr bwMode="auto">
              <a:xfrm>
                <a:off x="3959" y="2116"/>
                <a:ext cx="194" cy="169"/>
              </a:xfrm>
              <a:custGeom>
                <a:avLst/>
                <a:gdLst>
                  <a:gd name="T0" fmla="*/ 2 w 109"/>
                  <a:gd name="T1" fmla="*/ 47 h 95"/>
                  <a:gd name="T2" fmla="*/ 39 w 109"/>
                  <a:gd name="T3" fmla="*/ 9 h 95"/>
                  <a:gd name="T4" fmla="*/ 71 w 109"/>
                  <a:gd name="T5" fmla="*/ 4 h 95"/>
                  <a:gd name="T6" fmla="*/ 93 w 109"/>
                  <a:gd name="T7" fmla="*/ 0 h 95"/>
                  <a:gd name="T8" fmla="*/ 100 w 109"/>
                  <a:gd name="T9" fmla="*/ 6 h 95"/>
                  <a:gd name="T10" fmla="*/ 99 w 109"/>
                  <a:gd name="T11" fmla="*/ 13 h 95"/>
                  <a:gd name="T12" fmla="*/ 96 w 109"/>
                  <a:gd name="T13" fmla="*/ 16 h 95"/>
                  <a:gd name="T14" fmla="*/ 99 w 109"/>
                  <a:gd name="T15" fmla="*/ 33 h 95"/>
                  <a:gd name="T16" fmla="*/ 100 w 109"/>
                  <a:gd name="T17" fmla="*/ 51 h 95"/>
                  <a:gd name="T18" fmla="*/ 96 w 109"/>
                  <a:gd name="T19" fmla="*/ 69 h 95"/>
                  <a:gd name="T20" fmla="*/ 75 w 109"/>
                  <a:gd name="T21" fmla="*/ 77 h 95"/>
                  <a:gd name="T22" fmla="*/ 49 w 109"/>
                  <a:gd name="T23" fmla="*/ 87 h 95"/>
                  <a:gd name="T24" fmla="*/ 26 w 109"/>
                  <a:gd name="T25" fmla="*/ 88 h 95"/>
                  <a:gd name="T26" fmla="*/ 19 w 109"/>
                  <a:gd name="T27" fmla="*/ 95 h 95"/>
                  <a:gd name="T28" fmla="*/ 0 w 109"/>
                  <a:gd name="T29" fmla="*/ 70 h 95"/>
                  <a:gd name="T30" fmla="*/ 2 w 109"/>
                  <a:gd name="T31"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95">
                    <a:moveTo>
                      <a:pt x="2" y="47"/>
                    </a:moveTo>
                    <a:cubicBezTo>
                      <a:pt x="9" y="40"/>
                      <a:pt x="33" y="12"/>
                      <a:pt x="39" y="9"/>
                    </a:cubicBezTo>
                    <a:cubicBezTo>
                      <a:pt x="43" y="7"/>
                      <a:pt x="51" y="7"/>
                      <a:pt x="71" y="4"/>
                    </a:cubicBezTo>
                    <a:cubicBezTo>
                      <a:pt x="79" y="2"/>
                      <a:pt x="87" y="0"/>
                      <a:pt x="93" y="0"/>
                    </a:cubicBezTo>
                    <a:cubicBezTo>
                      <a:pt x="98" y="0"/>
                      <a:pt x="100" y="2"/>
                      <a:pt x="100" y="6"/>
                    </a:cubicBezTo>
                    <a:cubicBezTo>
                      <a:pt x="101" y="8"/>
                      <a:pt x="101" y="11"/>
                      <a:pt x="99" y="13"/>
                    </a:cubicBezTo>
                    <a:cubicBezTo>
                      <a:pt x="98" y="14"/>
                      <a:pt x="97" y="15"/>
                      <a:pt x="96" y="16"/>
                    </a:cubicBezTo>
                    <a:cubicBezTo>
                      <a:pt x="102" y="17"/>
                      <a:pt x="105" y="28"/>
                      <a:pt x="99" y="33"/>
                    </a:cubicBezTo>
                    <a:cubicBezTo>
                      <a:pt x="105" y="35"/>
                      <a:pt x="106" y="46"/>
                      <a:pt x="100" y="51"/>
                    </a:cubicBezTo>
                    <a:cubicBezTo>
                      <a:pt x="109" y="52"/>
                      <a:pt x="106" y="64"/>
                      <a:pt x="96" y="69"/>
                    </a:cubicBezTo>
                    <a:cubicBezTo>
                      <a:pt x="91" y="72"/>
                      <a:pt x="83" y="75"/>
                      <a:pt x="75" y="77"/>
                    </a:cubicBezTo>
                    <a:cubicBezTo>
                      <a:pt x="69" y="79"/>
                      <a:pt x="58" y="85"/>
                      <a:pt x="49" y="87"/>
                    </a:cubicBezTo>
                    <a:cubicBezTo>
                      <a:pt x="45" y="88"/>
                      <a:pt x="32" y="86"/>
                      <a:pt x="26" y="88"/>
                    </a:cubicBezTo>
                    <a:cubicBezTo>
                      <a:pt x="25" y="88"/>
                      <a:pt x="19" y="95"/>
                      <a:pt x="19" y="95"/>
                    </a:cubicBezTo>
                    <a:cubicBezTo>
                      <a:pt x="0" y="70"/>
                      <a:pt x="0" y="70"/>
                      <a:pt x="0" y="70"/>
                    </a:cubicBezTo>
                    <a:lnTo>
                      <a:pt x="2" y="47"/>
                    </a:lnTo>
                    <a:close/>
                  </a:path>
                </a:pathLst>
              </a:custGeom>
              <a:solidFill>
                <a:srgbClr val="FFD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4" name="Freeform 6"/>
              <p:cNvSpPr>
                <a:spLocks/>
              </p:cNvSpPr>
              <p:nvPr userDrawn="1"/>
            </p:nvSpPr>
            <p:spPr bwMode="auto">
              <a:xfrm>
                <a:off x="3529" y="1878"/>
                <a:ext cx="491" cy="571"/>
              </a:xfrm>
              <a:custGeom>
                <a:avLst/>
                <a:gdLst>
                  <a:gd name="T0" fmla="*/ 21 w 276"/>
                  <a:gd name="T1" fmla="*/ 126 h 321"/>
                  <a:gd name="T2" fmla="*/ 53 w 276"/>
                  <a:gd name="T3" fmla="*/ 295 h 321"/>
                  <a:gd name="T4" fmla="*/ 107 w 276"/>
                  <a:gd name="T5" fmla="*/ 311 h 321"/>
                  <a:gd name="T6" fmla="*/ 276 w 276"/>
                  <a:gd name="T7" fmla="*/ 224 h 321"/>
                  <a:gd name="T8" fmla="*/ 247 w 276"/>
                  <a:gd name="T9" fmla="*/ 167 h 321"/>
                  <a:gd name="T10" fmla="*/ 111 w 276"/>
                  <a:gd name="T11" fmla="*/ 242 h 321"/>
                  <a:gd name="T12" fmla="*/ 88 w 276"/>
                  <a:gd name="T13" fmla="*/ 90 h 321"/>
                  <a:gd name="T14" fmla="*/ 29 w 276"/>
                  <a:gd name="T15" fmla="*/ 0 h 321"/>
                  <a:gd name="T16" fmla="*/ 6 w 276"/>
                  <a:gd name="T17" fmla="*/ 26 h 321"/>
                  <a:gd name="T18" fmla="*/ 21 w 276"/>
                  <a:gd name="T19"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321">
                    <a:moveTo>
                      <a:pt x="21" y="126"/>
                    </a:moveTo>
                    <a:cubicBezTo>
                      <a:pt x="29" y="182"/>
                      <a:pt x="37" y="248"/>
                      <a:pt x="53" y="295"/>
                    </a:cubicBezTo>
                    <a:cubicBezTo>
                      <a:pt x="62" y="321"/>
                      <a:pt x="79" y="318"/>
                      <a:pt x="107" y="311"/>
                    </a:cubicBezTo>
                    <a:cubicBezTo>
                      <a:pt x="165" y="298"/>
                      <a:pt x="251" y="244"/>
                      <a:pt x="276" y="224"/>
                    </a:cubicBezTo>
                    <a:cubicBezTo>
                      <a:pt x="264" y="201"/>
                      <a:pt x="259" y="190"/>
                      <a:pt x="247" y="167"/>
                    </a:cubicBezTo>
                    <a:cubicBezTo>
                      <a:pt x="204" y="198"/>
                      <a:pt x="144" y="202"/>
                      <a:pt x="111" y="242"/>
                    </a:cubicBezTo>
                    <a:cubicBezTo>
                      <a:pt x="103" y="211"/>
                      <a:pt x="92" y="144"/>
                      <a:pt x="88" y="90"/>
                    </a:cubicBezTo>
                    <a:cubicBezTo>
                      <a:pt x="84" y="41"/>
                      <a:pt x="60" y="3"/>
                      <a:pt x="29" y="0"/>
                    </a:cubicBezTo>
                    <a:cubicBezTo>
                      <a:pt x="29" y="0"/>
                      <a:pt x="0" y="10"/>
                      <a:pt x="6" y="26"/>
                    </a:cubicBezTo>
                    <a:cubicBezTo>
                      <a:pt x="16" y="56"/>
                      <a:pt x="29" y="78"/>
                      <a:pt x="21" y="126"/>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grpSp>
    </p:spTree>
    <p:extLst>
      <p:ext uri="{BB962C8B-B14F-4D97-AF65-F5344CB8AC3E}">
        <p14:creationId xmlns:p14="http://schemas.microsoft.com/office/powerpoint/2010/main" val="3279088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4"/>
                                        </p:tgtEl>
                                      </p:cBhvr>
                                    </p:animEffect>
                                    <p:set>
                                      <p:cBhvr>
                                        <p:cTn id="7" dur="1" fill="hold">
                                          <p:stCondLst>
                                            <p:cond delay="74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1.45833E-6 2.59259E-6 L -0.10378 2.59259E-6 " pathEditMode="relative" rAng="0" ptsTypes="AA">
                                      <p:cBhvr>
                                        <p:cTn id="9" dur="750" fill="hold"/>
                                        <p:tgtEl>
                                          <p:spTgt spid="4"/>
                                        </p:tgtEl>
                                        <p:attrNameLst>
                                          <p:attrName>ppt_x</p:attrName>
                                          <p:attrName>ppt_y</p:attrName>
                                        </p:attrNameLst>
                                      </p:cBhvr>
                                      <p:rCtr x="-5195" y="0"/>
                                    </p:animMotion>
                                  </p:childTnLst>
                                </p:cTn>
                              </p:par>
                              <p:par>
                                <p:cTn id="10" presetID="10" presetClass="entr" presetSubtype="0" fill="hold" nodeType="with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par>
                                <p:cTn id="13" presetID="42" presetClass="path" presetSubtype="0" accel="50000" decel="50000" fill="hold" nodeType="withEffect">
                                  <p:stCondLst>
                                    <p:cond delay="0"/>
                                  </p:stCondLst>
                                  <p:childTnLst>
                                    <p:animMotion origin="layout" path="M 0.06705 0.00301 L 3.95833E-6 2.59259E-6 " pathEditMode="relative" rAng="0" ptsTypes="AA">
                                      <p:cBhvr>
                                        <p:cTn id="14" dur="750" fill="hold"/>
                                        <p:tgtEl>
                                          <p:spTgt spid="65"/>
                                        </p:tgtEl>
                                        <p:attrNameLst>
                                          <p:attrName>ppt_x</p:attrName>
                                          <p:attrName>ppt_y</p:attrName>
                                        </p:attrNameLst>
                                      </p:cBhvr>
                                      <p:rCtr x="-3359" y="-1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5_Custom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381016643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35684936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20606969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29738670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0" name="Picture Placeholder 5"/>
          <p:cNvSpPr>
            <a:spLocks noGrp="1"/>
          </p:cNvSpPr>
          <p:nvPr>
            <p:ph type="pic" sz="quarter" idx="11"/>
          </p:nvPr>
        </p:nvSpPr>
        <p:spPr>
          <a:xfrm>
            <a:off x="838200" y="1485900"/>
            <a:ext cx="8399463" cy="4497388"/>
          </a:xfrm>
          <a:prstGeom prst="rect">
            <a:avLst/>
          </a:prstGeom>
        </p:spPr>
        <p:txBody>
          <a:bodyPr/>
          <a:lstStyle>
            <a:lvl1pPr>
              <a:defRPr>
                <a:latin typeface="Univers for KPMG Light"/>
                <a:cs typeface="Univers for KPMG Light"/>
              </a:defRPr>
            </a:lvl1pPr>
          </a:lstStyle>
          <a:p>
            <a:r>
              <a:rPr lang="en-US" smtClean="0"/>
              <a:t>Click icon to add picture</a:t>
            </a:r>
            <a:endParaRPr lang="en-US" dirty="0"/>
          </a:p>
        </p:txBody>
      </p:sp>
    </p:spTree>
    <p:extLst>
      <p:ext uri="{BB962C8B-B14F-4D97-AF65-F5344CB8AC3E}">
        <p14:creationId xmlns:p14="http://schemas.microsoft.com/office/powerpoint/2010/main" val="1420518889"/>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7640" y="432000"/>
            <a:ext cx="8403120" cy="518400"/>
          </a:xfrm>
        </p:spPr>
        <p:txBody>
          <a:bodyPr/>
          <a:lstStyle>
            <a:lvl1pPr>
              <a:defRPr/>
            </a:lvl1pPr>
          </a:lstStyle>
          <a:p>
            <a:r>
              <a:rPr lang="en-US" dirty="0"/>
              <a:t>Colors</a:t>
            </a:r>
          </a:p>
        </p:txBody>
      </p:sp>
      <p:grpSp>
        <p:nvGrpSpPr>
          <p:cNvPr id="20" name="Group 19"/>
          <p:cNvGrpSpPr/>
          <p:nvPr userDrawn="1"/>
        </p:nvGrpSpPr>
        <p:grpSpPr>
          <a:xfrm>
            <a:off x="1002949" y="1430719"/>
            <a:ext cx="7607041"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pPr defTabSz="754380"/>
              <a:r>
                <a:rPr lang="en-GB" sz="825" b="1" dirty="0">
                  <a:solidFill>
                    <a:srgbClr val="00338D"/>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pPr defTabSz="754380"/>
              <a:r>
                <a:rPr lang="en-GB" sz="825" b="1" dirty="0">
                  <a:solidFill>
                    <a:srgbClr val="00338D"/>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pPr defTabSz="754380"/>
              <a:r>
                <a:rPr lang="en-GB" sz="825" b="1" dirty="0">
                  <a:solidFill>
                    <a:srgbClr val="00338D"/>
                  </a:solidFill>
                </a:rPr>
                <a:t>Tertiary</a:t>
              </a: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KPMG Blue</a:t>
              </a:r>
            </a:p>
            <a:p>
              <a:pPr algn="ctr" defTabSz="754380"/>
              <a:r>
                <a:rPr lang="en-GB" sz="743">
                  <a:solidFill>
                    <a:prstClr val="white"/>
                  </a:solidFill>
                </a:rPr>
                <a:t>0 / 51 / 141</a:t>
              </a:r>
              <a:endParaRPr lang="en-GB" sz="743" dirty="0">
                <a:solidFill>
                  <a:prstClr val="white"/>
                </a:solidFill>
              </a:endParaRP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Medium Blue</a:t>
              </a:r>
            </a:p>
            <a:p>
              <a:pPr algn="ctr" defTabSz="754380"/>
              <a:r>
                <a:rPr lang="en-GB" sz="743" dirty="0">
                  <a:solidFill>
                    <a:prstClr val="white"/>
                  </a:solidFill>
                </a:rPr>
                <a:t>0 / 94 / 184</a:t>
              </a: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Blue</a:t>
              </a:r>
            </a:p>
            <a:p>
              <a:pPr algn="ctr" defTabSz="754380"/>
              <a:r>
                <a:rPr lang="en-GB" sz="743" dirty="0">
                  <a:solidFill>
                    <a:prstClr val="white"/>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Violet</a:t>
              </a:r>
            </a:p>
            <a:p>
              <a:pPr algn="ctr" defTabSz="754380"/>
              <a:r>
                <a:rPr lang="en-GB" sz="743">
                  <a:solidFill>
                    <a:prstClr val="white"/>
                  </a:solidFill>
                </a:rPr>
                <a:t>72 / 54 / 152</a:t>
              </a:r>
              <a:endParaRPr lang="en-GB" sz="743" dirty="0">
                <a:solidFill>
                  <a:prstClr val="white"/>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Purple</a:t>
              </a:r>
            </a:p>
            <a:p>
              <a:pPr algn="ctr" defTabSz="754380"/>
              <a:r>
                <a:rPr lang="en-GB" sz="743" dirty="0">
                  <a:solidFill>
                    <a:prstClr val="white"/>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Purple</a:t>
              </a:r>
            </a:p>
            <a:p>
              <a:pPr algn="ctr" defTabSz="754380"/>
              <a:r>
                <a:rPr lang="en-GB" sz="743">
                  <a:solidFill>
                    <a:prstClr val="white"/>
                  </a:solidFill>
                </a:rPr>
                <a:t>109 / 32 / 119</a:t>
              </a:r>
              <a:endParaRPr lang="en-GB" sz="743" dirty="0">
                <a:solidFill>
                  <a:prstClr val="white"/>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Green</a:t>
              </a:r>
            </a:p>
            <a:p>
              <a:pPr algn="ctr" defTabSz="754380"/>
              <a:r>
                <a:rPr lang="en-GB" sz="743">
                  <a:solidFill>
                    <a:prstClr val="white"/>
                  </a:solidFill>
                </a:rPr>
                <a:t>0 / 163 / 161</a:t>
              </a:r>
              <a:endParaRPr lang="en-GB" sz="743" dirty="0">
                <a:solidFill>
                  <a:prstClr val="white"/>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Dark Green</a:t>
              </a:r>
            </a:p>
            <a:p>
              <a:pPr algn="ctr" defTabSz="754380"/>
              <a:r>
                <a:rPr lang="en-GB" sz="743" dirty="0">
                  <a:solidFill>
                    <a:prstClr val="white"/>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Green</a:t>
              </a:r>
            </a:p>
            <a:p>
              <a:pPr algn="ctr" defTabSz="754380"/>
              <a:r>
                <a:rPr lang="en-GB" sz="743">
                  <a:solidFill>
                    <a:prstClr val="white"/>
                  </a:solidFill>
                </a:rPr>
                <a:t>67 / 176 / 42</a:t>
              </a:r>
              <a:endParaRPr lang="en-GB" sz="743" dirty="0">
                <a:solidFill>
                  <a:prstClr val="white"/>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Yellow</a:t>
              </a:r>
            </a:p>
            <a:p>
              <a:pPr algn="ctr" defTabSz="754380"/>
              <a:r>
                <a:rPr lang="en-GB" sz="743">
                  <a:solidFill>
                    <a:prstClr val="white"/>
                  </a:solidFill>
                </a:rPr>
                <a:t>234 / 170 / 0</a:t>
              </a:r>
              <a:endParaRPr lang="en-GB" sz="743" dirty="0">
                <a:solidFill>
                  <a:prstClr val="white"/>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Orange</a:t>
              </a:r>
            </a:p>
            <a:p>
              <a:pPr algn="ctr" defTabSz="754380"/>
              <a:r>
                <a:rPr lang="en-GB" sz="743" dirty="0">
                  <a:solidFill>
                    <a:prstClr val="white"/>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Red</a:t>
              </a:r>
            </a:p>
            <a:p>
              <a:pPr algn="ctr" defTabSz="754380"/>
              <a:r>
                <a:rPr lang="en-GB" sz="743">
                  <a:solidFill>
                    <a:prstClr val="white"/>
                  </a:solidFill>
                </a:rPr>
                <a:t>188 / 32 / 75</a:t>
              </a:r>
              <a:endParaRPr lang="en-GB" sz="743" dirty="0">
                <a:solidFill>
                  <a:prstClr val="white"/>
                </a:solidFill>
              </a:endParaRP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Pink</a:t>
              </a:r>
            </a:p>
            <a:p>
              <a:pPr algn="ctr" defTabSz="754380"/>
              <a:r>
                <a:rPr lang="en-GB" sz="743" dirty="0">
                  <a:solidFill>
                    <a:prstClr val="white"/>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KPMG Blue</a:t>
              </a:r>
            </a:p>
            <a:p>
              <a:pPr algn="ctr" defTabSz="754380"/>
              <a:r>
                <a:rPr lang="en-GB" sz="743">
                  <a:solidFill>
                    <a:prstClr val="white"/>
                  </a:solidFill>
                </a:rPr>
                <a:t>0 / 51 / 141</a:t>
              </a:r>
              <a:endParaRPr lang="en-GB" sz="743" dirty="0">
                <a:solidFill>
                  <a:prstClr val="white"/>
                </a:solidFill>
              </a:endParaRP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Medium Blue</a:t>
              </a:r>
            </a:p>
            <a:p>
              <a:pPr algn="ctr" defTabSz="754380"/>
              <a:r>
                <a:rPr lang="en-GB" sz="743" dirty="0">
                  <a:solidFill>
                    <a:prstClr val="white"/>
                  </a:solidFill>
                </a:rPr>
                <a:t>0 / 94 / 184</a:t>
              </a: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Blue</a:t>
              </a:r>
            </a:p>
            <a:p>
              <a:pPr algn="ctr" defTabSz="754380"/>
              <a:r>
                <a:rPr lang="en-GB" sz="743">
                  <a:solidFill>
                    <a:prstClr val="white"/>
                  </a:solidFill>
                </a:rPr>
                <a:t>0 / 145 / 218</a:t>
              </a:r>
              <a:endParaRPr lang="en-GB" sz="743" dirty="0">
                <a:solidFill>
                  <a:prstClr val="white"/>
                </a:solidFill>
              </a:endParaRP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Purple</a:t>
              </a:r>
            </a:p>
            <a:p>
              <a:pPr algn="ctr" defTabSz="754380"/>
              <a:r>
                <a:rPr lang="en-GB" sz="743">
                  <a:solidFill>
                    <a:prstClr val="white"/>
                  </a:solidFill>
                </a:rPr>
                <a:t>109 / 32 / 119</a:t>
              </a:r>
              <a:endParaRPr lang="en-GB" sz="743" dirty="0">
                <a:solidFill>
                  <a:prstClr val="white"/>
                </a:solidFill>
              </a:endParaRP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Green</a:t>
              </a:r>
            </a:p>
            <a:p>
              <a:pPr algn="ctr" defTabSz="754380"/>
              <a:r>
                <a:rPr lang="en-GB" sz="743">
                  <a:solidFill>
                    <a:prstClr val="white"/>
                  </a:solidFill>
                </a:rPr>
                <a:t>0 / 163 / 161</a:t>
              </a:r>
              <a:endParaRPr lang="en-GB" sz="743" dirty="0">
                <a:solidFill>
                  <a:prstClr val="white"/>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Green</a:t>
              </a:r>
            </a:p>
            <a:p>
              <a:pPr algn="ctr" defTabSz="754380"/>
              <a:r>
                <a:rPr lang="en-GB" sz="743" dirty="0">
                  <a:solidFill>
                    <a:prstClr val="white"/>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Yellow</a:t>
              </a:r>
            </a:p>
            <a:p>
              <a:pPr algn="ctr" defTabSz="754380"/>
              <a:r>
                <a:rPr lang="en-GB" sz="743">
                  <a:solidFill>
                    <a:prstClr val="white"/>
                  </a:solidFill>
                </a:rPr>
                <a:t>234 / 170 / 0</a:t>
              </a:r>
              <a:endParaRPr lang="en-GB" sz="743" dirty="0">
                <a:solidFill>
                  <a:prstClr val="white"/>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Pink</a:t>
              </a:r>
            </a:p>
            <a:p>
              <a:pPr algn="ctr" defTabSz="754380"/>
              <a:r>
                <a:rPr lang="en-GB" sz="743" dirty="0">
                  <a:solidFill>
                    <a:prstClr val="white"/>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Dark Brown</a:t>
              </a:r>
            </a:p>
            <a:p>
              <a:pPr algn="ctr" defTabSz="754380"/>
              <a:r>
                <a:rPr lang="en-GB" sz="743" dirty="0">
                  <a:solidFill>
                    <a:prstClr val="white"/>
                  </a:solidFill>
                </a:rPr>
                <a:t>117 / 63 / 25</a:t>
              </a: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Brown</a:t>
              </a:r>
            </a:p>
            <a:p>
              <a:pPr algn="ctr" defTabSz="754380"/>
              <a:r>
                <a:rPr lang="en-GB" sz="743" dirty="0">
                  <a:solidFill>
                    <a:prstClr val="white"/>
                  </a:solidFill>
                </a:rPr>
                <a:t>155 / 100 / 46</a:t>
              </a: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Beige</a:t>
              </a:r>
            </a:p>
            <a:p>
              <a:pPr algn="ctr" defTabSz="754380"/>
              <a:r>
                <a:rPr lang="en-GB" sz="743" dirty="0">
                  <a:solidFill>
                    <a:prstClr val="white"/>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Olive</a:t>
              </a:r>
            </a:p>
            <a:p>
              <a:pPr algn="ctr" defTabSz="754380"/>
              <a:r>
                <a:rPr lang="en-GB" sz="743" dirty="0">
                  <a:solidFill>
                    <a:prstClr val="white"/>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Pink</a:t>
              </a:r>
            </a:p>
            <a:p>
              <a:pPr algn="ctr" defTabSz="754380"/>
              <a:r>
                <a:rPr lang="en-GB" sz="743" dirty="0">
                  <a:solidFill>
                    <a:prstClr val="white"/>
                  </a:solidFill>
                </a:rPr>
                <a:t>227 / 104 / 119</a:t>
              </a: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pPr defTabSz="754380"/>
              <a:r>
                <a:rPr lang="en-GB" sz="825" b="1" dirty="0">
                  <a:solidFill>
                    <a:srgbClr val="00338D"/>
                  </a:solidFill>
                </a:rPr>
                <a:t>Colour order for graphs</a:t>
              </a:r>
            </a:p>
          </p:txBody>
        </p:sp>
      </p:grpSp>
    </p:spTree>
    <p:extLst>
      <p:ext uri="{BB962C8B-B14F-4D97-AF65-F5344CB8AC3E}">
        <p14:creationId xmlns:p14="http://schemas.microsoft.com/office/powerpoint/2010/main" val="29298223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13" name="Text Placeholder 2"/>
          <p:cNvSpPr>
            <a:spLocks noGrp="1"/>
          </p:cNvSpPr>
          <p:nvPr>
            <p:ph type="body" sz="quarter" idx="11"/>
          </p:nvPr>
        </p:nvSpPr>
        <p:spPr>
          <a:xfrm>
            <a:off x="2251560" y="4771394"/>
            <a:ext cx="6477695" cy="643342"/>
          </a:xfrm>
        </p:spPr>
        <p:txBody>
          <a:bodyPr/>
          <a:lstStyle>
            <a:lvl1pPr>
              <a:buFontTx/>
              <a:buNone/>
              <a:defRPr sz="907" b="0">
                <a:solidFill>
                  <a:schemeClr val="bg1">
                    <a:lumMod val="65000"/>
                  </a:schemeClr>
                </a:solidFill>
              </a:defRPr>
            </a:lvl1pPr>
            <a:lvl2pPr>
              <a:buFontTx/>
              <a:buNone/>
              <a:defRPr sz="907"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a:p>
            <a:pPr lvl="1"/>
            <a:r>
              <a:rPr lang="en-US"/>
              <a:t>Second level</a:t>
            </a:r>
          </a:p>
        </p:txBody>
      </p:sp>
      <p:sp>
        <p:nvSpPr>
          <p:cNvPr id="14" name="Text Placeholder 2"/>
          <p:cNvSpPr>
            <a:spLocks noGrp="1"/>
          </p:cNvSpPr>
          <p:nvPr>
            <p:ph type="body" sz="quarter" idx="12"/>
          </p:nvPr>
        </p:nvSpPr>
        <p:spPr>
          <a:xfrm>
            <a:off x="2251560" y="5711031"/>
            <a:ext cx="6477695" cy="169277"/>
          </a:xfrm>
        </p:spPr>
        <p:txBody>
          <a:bodyPr>
            <a:noAutofit/>
          </a:bodyPr>
          <a:lstStyle>
            <a:lvl1pPr>
              <a:buFontTx/>
              <a:buNone/>
              <a:defRPr sz="907" b="0">
                <a:solidFill>
                  <a:schemeClr val="bg1">
                    <a:lumMod val="65000"/>
                  </a:schemeClr>
                </a:solidFill>
              </a:defRPr>
            </a:lvl1pPr>
            <a:lvl2pPr>
              <a:buFontTx/>
              <a:buNone/>
              <a:defRPr sz="743"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p:txBody>
      </p:sp>
      <p:sp>
        <p:nvSpPr>
          <p:cNvPr id="15" name="Text Placeholder 2"/>
          <p:cNvSpPr>
            <a:spLocks noGrp="1"/>
          </p:cNvSpPr>
          <p:nvPr>
            <p:ph type="body" sz="quarter" idx="13"/>
          </p:nvPr>
        </p:nvSpPr>
        <p:spPr>
          <a:xfrm>
            <a:off x="2251560" y="3831758"/>
            <a:ext cx="6477695" cy="643342"/>
          </a:xfrm>
        </p:spPr>
        <p:txBody>
          <a:bodyPr/>
          <a:lstStyle>
            <a:lvl1pPr>
              <a:buFontTx/>
              <a:buNone/>
              <a:defRPr sz="907" b="0">
                <a:solidFill>
                  <a:schemeClr val="bg1">
                    <a:lumMod val="65000"/>
                  </a:schemeClr>
                </a:solidFill>
              </a:defRPr>
            </a:lvl1pPr>
            <a:lvl2pPr>
              <a:buFontTx/>
              <a:buNone/>
              <a:defRPr sz="907"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a:p>
            <a:pPr lvl="1"/>
            <a:r>
              <a:rPr lang="en-US"/>
              <a:t>Second level</a:t>
            </a:r>
          </a:p>
        </p:txBody>
      </p:sp>
      <p:sp>
        <p:nvSpPr>
          <p:cNvPr id="23" name="Text Placeholder 2"/>
          <p:cNvSpPr>
            <a:spLocks noGrp="1"/>
          </p:cNvSpPr>
          <p:nvPr>
            <p:ph type="body" sz="quarter" idx="14"/>
          </p:nvPr>
        </p:nvSpPr>
        <p:spPr>
          <a:xfrm>
            <a:off x="2251559" y="3480007"/>
            <a:ext cx="1989684" cy="119064"/>
          </a:xfrm>
        </p:spPr>
        <p:txBody>
          <a:bodyPr/>
          <a:lstStyle>
            <a:lvl1pPr>
              <a:buFontTx/>
              <a:buNone/>
              <a:defRPr sz="990" b="1">
                <a:solidFill>
                  <a:schemeClr val="tx2"/>
                </a:solidFill>
              </a:defRPr>
            </a:lvl1pPr>
            <a:lvl2pPr>
              <a:buFontTx/>
              <a:buNone/>
              <a:defRPr sz="743"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p:txBody>
      </p:sp>
      <p:sp>
        <p:nvSpPr>
          <p:cNvPr id="24" name="Text Placeholder 2"/>
          <p:cNvSpPr>
            <a:spLocks noGrp="1"/>
          </p:cNvSpPr>
          <p:nvPr>
            <p:ph type="body" sz="quarter" idx="15"/>
          </p:nvPr>
        </p:nvSpPr>
        <p:spPr>
          <a:xfrm>
            <a:off x="4884413" y="3480007"/>
            <a:ext cx="1948046" cy="119064"/>
          </a:xfrm>
        </p:spPr>
        <p:txBody>
          <a:bodyPr/>
          <a:lstStyle>
            <a:lvl1pPr>
              <a:buFontTx/>
              <a:buNone/>
              <a:defRPr sz="990" b="1">
                <a:solidFill>
                  <a:schemeClr val="tx2"/>
                </a:solidFill>
              </a:defRPr>
            </a:lvl1pPr>
            <a:lvl2pPr>
              <a:buFontTx/>
              <a:buNone/>
              <a:defRPr sz="743"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84414" y="2974451"/>
            <a:ext cx="109385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51560" y="2974451"/>
            <a:ext cx="2082093" cy="384049"/>
          </a:xfrm>
          <a:prstGeom prst="rect">
            <a:avLst/>
          </a:prstGeom>
        </p:spPr>
      </p:pic>
      <p:sp>
        <p:nvSpPr>
          <p:cNvPr id="11" name="TextBox 10"/>
          <p:cNvSpPr txBox="1"/>
          <p:nvPr userDrawn="1"/>
        </p:nvSpPr>
        <p:spPr>
          <a:xfrm>
            <a:off x="2140333" y="6637578"/>
            <a:ext cx="5736797" cy="135362"/>
          </a:xfrm>
          <a:prstGeom prst="rect">
            <a:avLst/>
          </a:prstGeom>
          <a:noFill/>
        </p:spPr>
        <p:txBody>
          <a:bodyPr wrap="square" lIns="0" tIns="0" rIns="0" bIns="0" rtlCol="0">
            <a:noAutofit/>
          </a:bodyPr>
          <a:lstStyle/>
          <a:p>
            <a:pPr algn="ctr" defTabSz="754380">
              <a:defRPr/>
            </a:pPr>
            <a:r>
              <a:rPr lang="en-GB" sz="495" b="1" dirty="0">
                <a:solidFill>
                  <a:srgbClr val="000000"/>
                </a:solidFill>
              </a:rPr>
              <a:t>Document Classification: KPMG Confidential</a:t>
            </a:r>
          </a:p>
        </p:txBody>
      </p:sp>
    </p:spTree>
    <p:extLst>
      <p:ext uri="{BB962C8B-B14F-4D97-AF65-F5344CB8AC3E}">
        <p14:creationId xmlns:p14="http://schemas.microsoft.com/office/powerpoint/2010/main" val="1385172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5240" y="0"/>
            <a:ext cx="10058400" cy="5983288"/>
          </a:xfrm>
          <a:prstGeom prst="rect">
            <a:avLst/>
          </a:prstGeom>
        </p:spPr>
        <p:txBody>
          <a:bodyPr vert="horz"/>
          <a:lstStyle>
            <a:lvl1pPr>
              <a:defRPr>
                <a:latin typeface="Univers for KPMG Light"/>
                <a:cs typeface="Univers for KPMG Light"/>
              </a:defRPr>
            </a:lvl1pPr>
          </a:lstStyle>
          <a:p>
            <a:r>
              <a:rPr lang="en-US" smtClean="0"/>
              <a:t>Click icon to add picture</a:t>
            </a:r>
            <a:endParaRPr lang="en-US" dirty="0"/>
          </a:p>
        </p:txBody>
      </p:sp>
      <p:sp>
        <p:nvSpPr>
          <p:cNvPr id="9" name="Shape 8"/>
          <p:cNvSpPr txBox="1">
            <a:spLocks/>
          </p:cNvSpPr>
          <p:nvPr userDrawn="1"/>
        </p:nvSpPr>
        <p:spPr>
          <a:xfrm>
            <a:off x="7242048" y="6377939"/>
            <a:ext cx="2313433" cy="112060"/>
          </a:xfrm>
          <a:prstGeom prst="rect">
            <a:avLst/>
          </a:prstGeom>
        </p:spPr>
        <p:txBody>
          <a:bodyPr/>
          <a:lstStyle>
            <a:defPPr>
              <a:defRPr lang="en-US"/>
            </a:defPPr>
            <a:lvl1pPr marL="0" algn="l" defTabSz="457200" rtl="0" eaLnBrk="1" latinLnBrk="0" hangingPunct="1">
              <a:defRPr sz="1000" kern="1200">
                <a:solidFill>
                  <a:srgbClr val="0061A8"/>
                </a:solidFill>
                <a:latin typeface="Univers LT Std 55 Roman"/>
                <a:ea typeface="Univers LT Std 55 Roman"/>
                <a:cs typeface="Univers LT Std 55 Roman"/>
                <a:sym typeface="Univers LT Std 55 Roman"/>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rgbClr val="FFFFFF"/>
                </a:solidFill>
                <a:latin typeface="Univers for KPMG"/>
                <a:ea typeface="Univers for KPMG"/>
                <a:cs typeface="Univers for KPMG"/>
              </a:rPr>
              <a:pPr algn="r"/>
              <a:t>‹Nr.›</a:t>
            </a:fld>
            <a:endParaRPr lang="en-US" sz="1000" dirty="0">
              <a:solidFill>
                <a:srgbClr val="FFFFFF"/>
              </a:solidFill>
              <a:latin typeface="Univers for KPMG"/>
              <a:ea typeface="Univers for KPMG"/>
              <a:cs typeface="Univers for KPMG"/>
            </a:endParaRPr>
          </a:p>
        </p:txBody>
      </p:sp>
    </p:spTree>
    <p:extLst>
      <p:ext uri="{BB962C8B-B14F-4D97-AF65-F5344CB8AC3E}">
        <p14:creationId xmlns:p14="http://schemas.microsoft.com/office/powerpoint/2010/main" val="266586504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1" name="Text Placeholder 20"/>
          <p:cNvSpPr>
            <a:spLocks noGrp="1"/>
          </p:cNvSpPr>
          <p:nvPr>
            <p:ph type="body" sz="quarter" idx="27"/>
          </p:nvPr>
        </p:nvSpPr>
        <p:spPr bwMode="gray">
          <a:xfrm>
            <a:off x="2545252" y="1485900"/>
            <a:ext cx="1773813"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2" name="Text Placeholder 20"/>
          <p:cNvSpPr>
            <a:spLocks noGrp="1"/>
          </p:cNvSpPr>
          <p:nvPr>
            <p:ph type="body" sz="quarter" idx="26" hasCustomPrompt="1"/>
          </p:nvPr>
        </p:nvSpPr>
        <p:spPr bwMode="gray">
          <a:xfrm>
            <a:off x="830318" y="1485900"/>
            <a:ext cx="1773813" cy="589520"/>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nchorCtr="0">
            <a:noAutofit/>
          </a:bodyPr>
          <a:lstStyle>
            <a:lvl1pPr marL="0" indent="0" algn="l" defTabSz="914400" rtl="0" eaLnBrk="1" latinLnBrk="0" hangingPunct="1">
              <a:spcBef>
                <a:spcPts val="0"/>
              </a:spcBef>
              <a:spcAft>
                <a:spcPts val="0"/>
              </a:spcAft>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a:t>
            </a:r>
            <a:br>
              <a:rPr lang="en-US" dirty="0" smtClean="0"/>
            </a:br>
            <a:r>
              <a:rPr lang="en-US" dirty="0" smtClean="0"/>
              <a:t>Master text </a:t>
            </a:r>
            <a:br>
              <a:rPr lang="en-US" dirty="0" smtClean="0"/>
            </a:br>
            <a:r>
              <a:rPr lang="en-US" dirty="0" smtClean="0"/>
              <a:t>styles</a:t>
            </a:r>
          </a:p>
        </p:txBody>
      </p:sp>
      <p:sp>
        <p:nvSpPr>
          <p:cNvPr id="13" name="Text Placeholder 20"/>
          <p:cNvSpPr>
            <a:spLocks noGrp="1"/>
          </p:cNvSpPr>
          <p:nvPr>
            <p:ph type="body" sz="quarter" idx="28"/>
          </p:nvPr>
        </p:nvSpPr>
        <p:spPr bwMode="gray">
          <a:xfrm>
            <a:off x="4260186" y="1485900"/>
            <a:ext cx="1773813"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4" name="Text Placeholder 20"/>
          <p:cNvSpPr>
            <a:spLocks noGrp="1"/>
          </p:cNvSpPr>
          <p:nvPr>
            <p:ph type="body" sz="quarter" idx="29"/>
          </p:nvPr>
        </p:nvSpPr>
        <p:spPr bwMode="gray">
          <a:xfrm>
            <a:off x="5975119" y="1485900"/>
            <a:ext cx="1773813"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5" name="Text Placeholder 20"/>
          <p:cNvSpPr>
            <a:spLocks noGrp="1"/>
          </p:cNvSpPr>
          <p:nvPr>
            <p:ph type="body" sz="quarter" idx="30"/>
          </p:nvPr>
        </p:nvSpPr>
        <p:spPr bwMode="gray">
          <a:xfrm>
            <a:off x="7690055" y="1485900"/>
            <a:ext cx="1773813" cy="589520"/>
          </a:xfrm>
          <a:prstGeom prst="chevron">
            <a:avLst>
              <a:gd name="adj" fmla="val 34136"/>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6" name="Text Placeholder 9"/>
          <p:cNvSpPr>
            <a:spLocks noGrp="1"/>
          </p:cNvSpPr>
          <p:nvPr>
            <p:ph type="body" sz="quarter" idx="33"/>
          </p:nvPr>
        </p:nvSpPr>
        <p:spPr bwMode="gray">
          <a:xfrm>
            <a:off x="7687979" y="2086060"/>
            <a:ext cx="1549685" cy="161582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a:latin typeface="Univers for KPMG Light" panose="020B0403020202020204" pitchFamily="34" charset="0"/>
                <a:cs typeface="Univers for KPMG Light" panose="020B0403020202020204" pitchFamily="34" charset="0"/>
              </a:defRPr>
            </a:lvl3pPr>
            <a:lvl4pPr>
              <a:spcBef>
                <a:spcPts val="600"/>
              </a:spcBef>
              <a:defRPr sz="1200">
                <a:latin typeface="Univers for KPMG Light" panose="020B0403020202020204" pitchFamily="34" charset="0"/>
              </a:defRPr>
            </a:lvl4pPr>
            <a:lvl5pPr>
              <a:spcBef>
                <a:spcPts val="600"/>
              </a:spcBef>
              <a:defRPr sz="1200">
                <a:latin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9"/>
          <p:cNvSpPr>
            <a:spLocks noGrp="1"/>
          </p:cNvSpPr>
          <p:nvPr>
            <p:ph type="body" sz="quarter" idx="35"/>
          </p:nvPr>
        </p:nvSpPr>
        <p:spPr bwMode="gray">
          <a:xfrm>
            <a:off x="838200" y="2086060"/>
            <a:ext cx="1549685" cy="161582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a:latin typeface="Univers for KPMG Light" panose="020B0403020202020204" pitchFamily="34" charset="0"/>
                <a:cs typeface="Univers for KPMG Light" panose="020B0403020202020204" pitchFamily="34" charset="0"/>
              </a:defRPr>
            </a:lvl3pPr>
            <a:lvl4pPr>
              <a:spcBef>
                <a:spcPts val="600"/>
              </a:spcBef>
              <a:defRPr sz="1200">
                <a:latin typeface="Univers for KPMG Light" panose="020B0403020202020204" pitchFamily="34" charset="0"/>
              </a:defRPr>
            </a:lvl4pPr>
            <a:lvl5pPr>
              <a:spcBef>
                <a:spcPts val="600"/>
              </a:spcBef>
              <a:defRPr sz="1200">
                <a:latin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9"/>
          <p:cNvSpPr>
            <a:spLocks noGrp="1"/>
          </p:cNvSpPr>
          <p:nvPr>
            <p:ph type="body" sz="quarter" idx="36"/>
          </p:nvPr>
        </p:nvSpPr>
        <p:spPr bwMode="gray">
          <a:xfrm>
            <a:off x="2550645" y="2086060"/>
            <a:ext cx="1549685" cy="161582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baseline="0">
                <a:latin typeface="Univers for KPMG Light" panose="020B0403020202020204" pitchFamily="34" charset="0"/>
                <a:cs typeface="Univers for KPMG Light" panose="020B0403020202020204" pitchFamily="34" charset="0"/>
              </a:defRPr>
            </a:lvl3pPr>
            <a:lvl4pPr>
              <a:spcBef>
                <a:spcPts val="600"/>
              </a:spcBef>
              <a:defRPr sz="1200">
                <a:latin typeface="Univers for KPMG Light" panose="020B0403020202020204" pitchFamily="34" charset="0"/>
              </a:defRPr>
            </a:lvl4pPr>
            <a:lvl5pPr>
              <a:spcBef>
                <a:spcPts val="600"/>
              </a:spcBef>
              <a:defRPr sz="1200">
                <a:latin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Text Placeholder 9"/>
          <p:cNvSpPr>
            <a:spLocks noGrp="1"/>
          </p:cNvSpPr>
          <p:nvPr>
            <p:ph type="body" sz="quarter" idx="37"/>
          </p:nvPr>
        </p:nvSpPr>
        <p:spPr bwMode="gray">
          <a:xfrm>
            <a:off x="4263090" y="2086060"/>
            <a:ext cx="1549685" cy="161582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baseline="0">
                <a:latin typeface="Univers for KPMG Light" panose="020B0403020202020204" pitchFamily="34" charset="0"/>
                <a:cs typeface="Univers for KPMG Light" panose="020B0403020202020204" pitchFamily="34" charset="0"/>
              </a:defRPr>
            </a:lvl3pPr>
            <a:lvl4pPr>
              <a:spcBef>
                <a:spcPts val="600"/>
              </a:spcBef>
              <a:defRPr sz="1200">
                <a:latin typeface="Univers for KPMG Light" panose="020B0403020202020204" pitchFamily="34" charset="0"/>
              </a:defRPr>
            </a:lvl4pPr>
            <a:lvl5pPr>
              <a:spcBef>
                <a:spcPts val="600"/>
              </a:spcBef>
              <a:defRPr sz="1200">
                <a:latin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0" name="Text Placeholder 9"/>
          <p:cNvSpPr>
            <a:spLocks noGrp="1"/>
          </p:cNvSpPr>
          <p:nvPr>
            <p:ph type="body" sz="quarter" idx="38"/>
          </p:nvPr>
        </p:nvSpPr>
        <p:spPr bwMode="gray">
          <a:xfrm>
            <a:off x="5975535" y="2086060"/>
            <a:ext cx="1549685" cy="161582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a:latin typeface="Univers for KPMG Light" panose="020B0403020202020204" pitchFamily="34" charset="0"/>
                <a:cs typeface="Univers for KPMG Light" panose="020B0403020202020204" pitchFamily="34" charset="0"/>
              </a:defRPr>
            </a:lvl3pPr>
            <a:lvl4pPr>
              <a:spcBef>
                <a:spcPts val="600"/>
              </a:spcBef>
              <a:defRPr sz="1200" baseline="0">
                <a:latin typeface="Univers for KPMG Light" panose="020B0403020202020204" pitchFamily="34" charset="0"/>
              </a:defRPr>
            </a:lvl4pPr>
            <a:lvl5pPr>
              <a:spcBef>
                <a:spcPts val="600"/>
              </a:spcBef>
              <a:defRPr sz="1200">
                <a:latin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5744668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0"/>
          <p:cNvSpPr>
            <a:spLocks noGrp="1"/>
          </p:cNvSpPr>
          <p:nvPr>
            <p:ph type="body" sz="quarter" idx="27"/>
          </p:nvPr>
        </p:nvSpPr>
        <p:spPr bwMode="gray">
          <a:xfrm>
            <a:off x="2997832" y="1485900"/>
            <a:ext cx="1911096" cy="605118"/>
          </a:xfrm>
          <a:prstGeom prst="chevron">
            <a:avLst>
              <a:gd name="adj" fmla="val 341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Simplified Arabic Fixed" panose="02070309020205020404" pitchFamily="49" charset="-78"/>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4" name="Text Placeholder 20"/>
          <p:cNvSpPr>
            <a:spLocks noGrp="1"/>
          </p:cNvSpPr>
          <p:nvPr>
            <p:ph type="body" sz="quarter" idx="26"/>
          </p:nvPr>
        </p:nvSpPr>
        <p:spPr bwMode="gray">
          <a:xfrm>
            <a:off x="822325" y="1485900"/>
            <a:ext cx="1911096" cy="605118"/>
          </a:xfrm>
          <a:prstGeom prst="homePlate">
            <a:avLst>
              <a:gd name="adj" fmla="val 345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Simplified Arabic Fixed" panose="02070309020205020404" pitchFamily="49" charset="-78"/>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5" name="Text Placeholder 9"/>
          <p:cNvSpPr>
            <a:spLocks noGrp="1"/>
          </p:cNvSpPr>
          <p:nvPr>
            <p:ph type="body" sz="quarter" idx="11"/>
          </p:nvPr>
        </p:nvSpPr>
        <p:spPr bwMode="gray">
          <a:xfrm>
            <a:off x="822326" y="2077613"/>
            <a:ext cx="1912883" cy="1461939"/>
          </a:xfrm>
          <a:prstGeom prst="rect">
            <a:avLst/>
          </a:prstGeom>
        </p:spPr>
        <p:txBody>
          <a:bodyPr lIns="0" tIns="45720" rIns="0" bIns="0"/>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cs typeface="Univers for KPMG Light" panose="020B0403020202020204" pitchFamily="34" charset="0"/>
              </a:defRPr>
            </a:lvl4pPr>
            <a:lvl5pPr>
              <a:spcBef>
                <a:spcPts val="0"/>
              </a:spcBef>
              <a:defRPr sz="1200">
                <a:solidFill>
                  <a:schemeClr val="accent5"/>
                </a:solidFill>
                <a:latin typeface="Univers for KPMG Light" panose="020B0403020202020204" pitchFamily="34" charset="0"/>
                <a:cs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Text Placeholder 9"/>
          <p:cNvSpPr>
            <a:spLocks noGrp="1"/>
          </p:cNvSpPr>
          <p:nvPr>
            <p:ph type="body" sz="quarter" idx="30"/>
          </p:nvPr>
        </p:nvSpPr>
        <p:spPr bwMode="gray">
          <a:xfrm>
            <a:off x="3006069" y="2077613"/>
            <a:ext cx="1877879" cy="1461939"/>
          </a:xfrm>
          <a:prstGeom prst="rect">
            <a:avLst/>
          </a:prstGeom>
        </p:spPr>
        <p:txBody>
          <a:bodyPr lIns="0" tIns="45720" rIns="0" bIns="0"/>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cs typeface="Univers for KPMG Light" panose="020B0403020202020204" pitchFamily="34" charset="0"/>
              </a:defRPr>
            </a:lvl4pPr>
            <a:lvl5pPr>
              <a:spcBef>
                <a:spcPts val="0"/>
              </a:spcBef>
              <a:defRPr sz="1200">
                <a:solidFill>
                  <a:schemeClr val="accent5"/>
                </a:solidFill>
                <a:latin typeface="Univers for KPMG Light" panose="020B0403020202020204" pitchFamily="34" charset="0"/>
                <a:cs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Text Placeholder 9"/>
          <p:cNvSpPr>
            <a:spLocks noGrp="1"/>
          </p:cNvSpPr>
          <p:nvPr>
            <p:ph type="body" sz="quarter" idx="31"/>
          </p:nvPr>
        </p:nvSpPr>
        <p:spPr bwMode="gray">
          <a:xfrm>
            <a:off x="5154808" y="2077612"/>
            <a:ext cx="1883571" cy="1461939"/>
          </a:xfrm>
          <a:prstGeom prst="rect">
            <a:avLst/>
          </a:prstGeom>
        </p:spPr>
        <p:txBody>
          <a:bodyPr lIns="0" tIns="45720" rIns="0" bIns="0"/>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cs typeface="Univers for KPMG Light" panose="020B0403020202020204" pitchFamily="34" charset="0"/>
              </a:defRPr>
            </a:lvl4pPr>
            <a:lvl5pPr>
              <a:spcBef>
                <a:spcPts val="0"/>
              </a:spcBef>
              <a:defRPr sz="1200">
                <a:solidFill>
                  <a:schemeClr val="accent5"/>
                </a:solidFill>
                <a:latin typeface="Univers for KPMG Light" panose="020B0403020202020204" pitchFamily="34" charset="0"/>
                <a:cs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Text Placeholder 9"/>
          <p:cNvSpPr>
            <a:spLocks noGrp="1"/>
          </p:cNvSpPr>
          <p:nvPr>
            <p:ph type="body" sz="quarter" idx="32"/>
          </p:nvPr>
        </p:nvSpPr>
        <p:spPr bwMode="gray">
          <a:xfrm>
            <a:off x="7309239" y="2077613"/>
            <a:ext cx="1928425" cy="1461939"/>
          </a:xfrm>
          <a:prstGeom prst="rect">
            <a:avLst/>
          </a:prstGeom>
        </p:spPr>
        <p:txBody>
          <a:bodyPr lIns="0" tIns="45720" rIns="0" bIns="0"/>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cs typeface="Univers for KPMG Light" panose="020B0403020202020204" pitchFamily="34" charset="0"/>
              </a:defRPr>
            </a:lvl4pPr>
            <a:lvl5pPr>
              <a:spcBef>
                <a:spcPts val="0"/>
              </a:spcBef>
              <a:defRPr sz="1200">
                <a:solidFill>
                  <a:schemeClr val="accent5"/>
                </a:solidFill>
                <a:latin typeface="Univers for KPMG Light" panose="020B0403020202020204" pitchFamily="34" charset="0"/>
                <a:cs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 Placeholder 20"/>
          <p:cNvSpPr>
            <a:spLocks noGrp="1"/>
          </p:cNvSpPr>
          <p:nvPr>
            <p:ph type="body" sz="quarter" idx="33"/>
          </p:nvPr>
        </p:nvSpPr>
        <p:spPr bwMode="gray">
          <a:xfrm>
            <a:off x="5173339" y="1485900"/>
            <a:ext cx="1911096" cy="605118"/>
          </a:xfrm>
          <a:prstGeom prst="chevron">
            <a:avLst>
              <a:gd name="adj" fmla="val 341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Simplified Arabic Fixed" panose="02070309020205020404" pitchFamily="49" charset="-78"/>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0" name="Text Placeholder 20"/>
          <p:cNvSpPr>
            <a:spLocks noGrp="1"/>
          </p:cNvSpPr>
          <p:nvPr>
            <p:ph type="body" sz="quarter" idx="34"/>
          </p:nvPr>
        </p:nvSpPr>
        <p:spPr bwMode="gray">
          <a:xfrm>
            <a:off x="7348846" y="1485900"/>
            <a:ext cx="1911096" cy="605118"/>
          </a:xfrm>
          <a:prstGeom prst="chevron">
            <a:avLst>
              <a:gd name="adj" fmla="val 3413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Simplified Arabic Fixed" panose="02070309020205020404" pitchFamily="49" charset="-78"/>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extLst>
      <p:ext uri="{BB962C8B-B14F-4D97-AF65-F5344CB8AC3E}">
        <p14:creationId xmlns:p14="http://schemas.microsoft.com/office/powerpoint/2010/main" val="384795612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Text Placeholder 10"/>
          <p:cNvSpPr>
            <a:spLocks noGrp="1"/>
          </p:cNvSpPr>
          <p:nvPr>
            <p:ph type="body" sz="quarter" idx="21"/>
          </p:nvPr>
        </p:nvSpPr>
        <p:spPr bwMode="gray">
          <a:xfrm>
            <a:off x="4344041" y="3160676"/>
            <a:ext cx="1370321" cy="932378"/>
          </a:xfrm>
          <a:prstGeom prst="ellipse">
            <a:avLst/>
          </a:prstGeom>
          <a:solidFill>
            <a:schemeClr val="accent5"/>
          </a:solidFill>
          <a:ln>
            <a:noFill/>
          </a:ln>
        </p:spPr>
        <p:txBody>
          <a:bodyPr lIns="54000" tIns="54000" rIns="54000" bIns="54000" anchor="ctr" anchorCtr="1"/>
          <a:lstStyle>
            <a:lvl1pPr algn="ctr">
              <a:defRPr sz="1200">
                <a:solidFill>
                  <a:schemeClr val="bg1"/>
                </a:solidFill>
                <a:latin typeface="Univers for KPMG"/>
                <a:cs typeface="Univers for KPMG"/>
              </a:defRPr>
            </a:lvl1pPr>
          </a:lstStyle>
          <a:p>
            <a:pPr lvl="0"/>
            <a:r>
              <a:rPr lang="en-US" smtClean="0"/>
              <a:t>Click to edit Master text styles</a:t>
            </a:r>
          </a:p>
        </p:txBody>
      </p:sp>
      <p:sp>
        <p:nvSpPr>
          <p:cNvPr id="8" name="Text Placeholder 20"/>
          <p:cNvSpPr>
            <a:spLocks noGrp="1"/>
          </p:cNvSpPr>
          <p:nvPr>
            <p:ph type="body" sz="quarter" idx="22"/>
          </p:nvPr>
        </p:nvSpPr>
        <p:spPr bwMode="gray">
          <a:xfrm>
            <a:off x="838200" y="1703671"/>
            <a:ext cx="3174353" cy="1613647"/>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baseline="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defRPr>
            </a:lvl4pPr>
            <a:lvl5pPr>
              <a:spcBef>
                <a:spcPts val="0"/>
              </a:spcBef>
              <a:defRPr sz="1200">
                <a:solidFill>
                  <a:schemeClr val="accent5"/>
                </a:solidFill>
                <a:latin typeface="Univers for KPMG Light" panose="020B04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 Placeholder 20"/>
          <p:cNvSpPr>
            <a:spLocks noGrp="1"/>
          </p:cNvSpPr>
          <p:nvPr>
            <p:ph type="body" sz="quarter" idx="26"/>
          </p:nvPr>
        </p:nvSpPr>
        <p:spPr bwMode="gray">
          <a:xfrm>
            <a:off x="838200" y="1485901"/>
            <a:ext cx="3174348" cy="223650"/>
          </a:xfrm>
          <a:prstGeom prst="rect">
            <a:avLst/>
          </a:prstGeom>
          <a:solidFill>
            <a:schemeClr val="tx2"/>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5" name="AutoShape 20"/>
          <p:cNvSpPr>
            <a:spLocks noChangeArrowheads="1"/>
          </p:cNvSpPr>
          <p:nvPr userDrawn="1"/>
        </p:nvSpPr>
        <p:spPr bwMode="gray">
          <a:xfrm rot="2700000" flipH="1" flipV="1">
            <a:off x="5479635" y="4124358"/>
            <a:ext cx="396053" cy="395832"/>
          </a:xfrm>
          <a:prstGeom prst="rightArrow">
            <a:avLst>
              <a:gd name="adj1" fmla="val 63333"/>
              <a:gd name="adj2" fmla="val 49582"/>
            </a:avLst>
          </a:prstGeom>
          <a:solidFill>
            <a:schemeClr val="accent5"/>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
        <p:nvSpPr>
          <p:cNvPr id="37" name="AutoShape 20"/>
          <p:cNvSpPr>
            <a:spLocks noChangeArrowheads="1"/>
          </p:cNvSpPr>
          <p:nvPr userDrawn="1"/>
        </p:nvSpPr>
        <p:spPr bwMode="gray">
          <a:xfrm rot="18900000" flipV="1">
            <a:off x="4124554" y="4147642"/>
            <a:ext cx="448860" cy="349264"/>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
        <p:nvSpPr>
          <p:cNvPr id="42" name="Text Placeholder 20"/>
          <p:cNvSpPr>
            <a:spLocks noGrp="1"/>
          </p:cNvSpPr>
          <p:nvPr>
            <p:ph type="body" sz="quarter" idx="47"/>
          </p:nvPr>
        </p:nvSpPr>
        <p:spPr bwMode="gray">
          <a:xfrm>
            <a:off x="838200" y="4372203"/>
            <a:ext cx="3174353" cy="1611738"/>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a:cs typeface="Univers for KPMG"/>
              </a:defRPr>
            </a:lvl2pPr>
            <a:lvl3pPr>
              <a:spcBef>
                <a:spcPts val="0"/>
              </a:spcBef>
              <a:defRPr sz="1200" baseline="0">
                <a:solidFill>
                  <a:schemeClr val="tx2"/>
                </a:solidFill>
                <a:latin typeface="Univers for KPMG"/>
                <a:cs typeface="Univers for KPMG"/>
              </a:defRPr>
            </a:lvl3pPr>
            <a:lvl4pPr>
              <a:spcBef>
                <a:spcPts val="0"/>
              </a:spcBef>
              <a:defRPr sz="1200">
                <a:solidFill>
                  <a:schemeClr val="tx2"/>
                </a:solidFill>
                <a:latin typeface="Univers for KPMG" panose="020B0603020202020204" pitchFamily="34" charset="0"/>
              </a:defRPr>
            </a:lvl4pPr>
            <a:lvl5pPr>
              <a:spcBef>
                <a:spcPts val="0"/>
              </a:spcBef>
              <a:defRPr sz="1200">
                <a:solidFill>
                  <a:schemeClr val="accent5"/>
                </a:solidFill>
                <a:latin typeface="Univers for KPMG" panose="020B06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Text Placeholder 20"/>
          <p:cNvSpPr>
            <a:spLocks noGrp="1"/>
          </p:cNvSpPr>
          <p:nvPr>
            <p:ph type="body" sz="quarter" idx="48"/>
          </p:nvPr>
        </p:nvSpPr>
        <p:spPr bwMode="gray">
          <a:xfrm>
            <a:off x="838200" y="4154433"/>
            <a:ext cx="3174348" cy="223331"/>
          </a:xfrm>
          <a:prstGeom prst="rect">
            <a:avLst/>
          </a:prstGeom>
          <a:solidFill>
            <a:schemeClr val="tx2"/>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44" name="Text Placeholder 20"/>
          <p:cNvSpPr>
            <a:spLocks noGrp="1"/>
          </p:cNvSpPr>
          <p:nvPr>
            <p:ph type="body" sz="quarter" idx="49"/>
          </p:nvPr>
        </p:nvSpPr>
        <p:spPr bwMode="gray">
          <a:xfrm>
            <a:off x="6063311" y="1703671"/>
            <a:ext cx="3174353" cy="1613647"/>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a:cs typeface="Univers for KPMG"/>
              </a:defRPr>
            </a:lvl2pPr>
            <a:lvl3pPr>
              <a:spcBef>
                <a:spcPts val="0"/>
              </a:spcBef>
              <a:defRPr sz="1200" baseline="0">
                <a:solidFill>
                  <a:schemeClr val="tx2"/>
                </a:solidFill>
                <a:latin typeface="Univers for KPMG"/>
                <a:cs typeface="Univers for KPMG"/>
              </a:defRPr>
            </a:lvl3pPr>
            <a:lvl4pPr>
              <a:spcBef>
                <a:spcPts val="0"/>
              </a:spcBef>
              <a:defRPr sz="1200">
                <a:solidFill>
                  <a:schemeClr val="tx2"/>
                </a:solidFill>
                <a:latin typeface="Univers for KPMG" panose="020B0603020202020204" pitchFamily="34" charset="0"/>
              </a:defRPr>
            </a:lvl4pPr>
            <a:lvl5pPr>
              <a:spcBef>
                <a:spcPts val="0"/>
              </a:spcBef>
              <a:defRPr sz="1200">
                <a:solidFill>
                  <a:schemeClr val="accent5"/>
                </a:solidFill>
                <a:latin typeface="Univers for KPMG" panose="020B06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5" name="Text Placeholder 20"/>
          <p:cNvSpPr>
            <a:spLocks noGrp="1"/>
          </p:cNvSpPr>
          <p:nvPr>
            <p:ph type="body" sz="quarter" idx="50"/>
          </p:nvPr>
        </p:nvSpPr>
        <p:spPr bwMode="gray">
          <a:xfrm>
            <a:off x="6063311" y="1485900"/>
            <a:ext cx="3174348" cy="208709"/>
          </a:xfrm>
          <a:prstGeom prst="rect">
            <a:avLst/>
          </a:prstGeom>
          <a:solidFill>
            <a:schemeClr val="tx2"/>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46" name="Text Placeholder 20"/>
          <p:cNvSpPr>
            <a:spLocks noGrp="1"/>
          </p:cNvSpPr>
          <p:nvPr>
            <p:ph type="body" sz="quarter" idx="51"/>
          </p:nvPr>
        </p:nvSpPr>
        <p:spPr bwMode="gray">
          <a:xfrm>
            <a:off x="6063311" y="4372203"/>
            <a:ext cx="3174353" cy="1611738"/>
          </a:xfrm>
          <a:prstGeom prst="rect">
            <a:avLst/>
          </a:prstGeom>
          <a:solidFill>
            <a:schemeClr val="bg1"/>
          </a:solidFill>
          <a:ln w="12700">
            <a:solidFill>
              <a:srgbClr val="00A3A1"/>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a:cs typeface="Univers for KPMG"/>
              </a:defRPr>
            </a:lvl2pPr>
            <a:lvl3pPr>
              <a:spcBef>
                <a:spcPts val="0"/>
              </a:spcBef>
              <a:defRPr sz="1200" baseline="0">
                <a:solidFill>
                  <a:schemeClr val="tx2"/>
                </a:solidFill>
                <a:latin typeface="Univers for KPMG"/>
                <a:cs typeface="Univers for KPMG"/>
              </a:defRPr>
            </a:lvl3pPr>
            <a:lvl4pPr>
              <a:spcBef>
                <a:spcPts val="0"/>
              </a:spcBef>
              <a:defRPr sz="1200">
                <a:solidFill>
                  <a:schemeClr val="tx2"/>
                </a:solidFill>
                <a:latin typeface="Univers for KPMG" panose="020B0603020202020204" pitchFamily="34" charset="0"/>
              </a:defRPr>
            </a:lvl4pPr>
            <a:lvl5pPr>
              <a:spcBef>
                <a:spcPts val="0"/>
              </a:spcBef>
              <a:defRPr sz="1200">
                <a:solidFill>
                  <a:schemeClr val="accent5"/>
                </a:solidFill>
                <a:latin typeface="Univers for KPMG" panose="020B06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7" name="Text Placeholder 20"/>
          <p:cNvSpPr>
            <a:spLocks noGrp="1"/>
          </p:cNvSpPr>
          <p:nvPr>
            <p:ph type="body" sz="quarter" idx="52"/>
          </p:nvPr>
        </p:nvSpPr>
        <p:spPr bwMode="gray">
          <a:xfrm>
            <a:off x="6063311" y="4154433"/>
            <a:ext cx="3174348" cy="208390"/>
          </a:xfrm>
          <a:prstGeom prst="rect">
            <a:avLst/>
          </a:prstGeom>
          <a:solidFill>
            <a:schemeClr val="accent5"/>
          </a:solidFill>
          <a:ln w="12700">
            <a:solidFill>
              <a:srgbClr val="00A3A1"/>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5" name="AutoShape 20"/>
          <p:cNvSpPr>
            <a:spLocks noChangeArrowheads="1"/>
          </p:cNvSpPr>
          <p:nvPr userDrawn="1"/>
        </p:nvSpPr>
        <p:spPr bwMode="gray">
          <a:xfrm rot="2700000">
            <a:off x="4158378" y="2782121"/>
            <a:ext cx="382279" cy="41476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
        <p:nvSpPr>
          <p:cNvPr id="36" name="AutoShape 20"/>
          <p:cNvSpPr>
            <a:spLocks noChangeArrowheads="1"/>
          </p:cNvSpPr>
          <p:nvPr userDrawn="1"/>
        </p:nvSpPr>
        <p:spPr bwMode="gray">
          <a:xfrm rot="18900000" flipH="1">
            <a:off x="5460503" y="2806518"/>
            <a:ext cx="433250" cy="365965"/>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Tree>
    <p:extLst>
      <p:ext uri="{BB962C8B-B14F-4D97-AF65-F5344CB8AC3E}">
        <p14:creationId xmlns:p14="http://schemas.microsoft.com/office/powerpoint/2010/main" val="317019043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Text Placeholder 20"/>
          <p:cNvSpPr>
            <a:spLocks noGrp="1"/>
          </p:cNvSpPr>
          <p:nvPr>
            <p:ph type="body" sz="quarter" idx="26"/>
          </p:nvPr>
        </p:nvSpPr>
        <p:spPr bwMode="gray">
          <a:xfrm>
            <a:off x="838200" y="1485900"/>
            <a:ext cx="4014789" cy="387856"/>
          </a:xfrm>
          <a:prstGeom prst="rect">
            <a:avLst/>
          </a:prstGeom>
          <a:solidFill>
            <a:schemeClr val="tx2"/>
          </a:solidFill>
          <a:ln w="12700">
            <a:noFill/>
          </a:ln>
        </p:spPr>
        <p:txBody>
          <a:bodyPr vert="horz" lIns="91440" tIns="0" rIns="0" bIns="0" rtlCol="0" anchor="ctr" anchorCtr="0">
            <a:norm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6" name="Text Placeholder 20"/>
          <p:cNvSpPr>
            <a:spLocks noGrp="1"/>
          </p:cNvSpPr>
          <p:nvPr>
            <p:ph type="body" sz="quarter" idx="27"/>
          </p:nvPr>
        </p:nvSpPr>
        <p:spPr bwMode="gray">
          <a:xfrm>
            <a:off x="5205413" y="1485900"/>
            <a:ext cx="3938586" cy="387856"/>
          </a:xfrm>
          <a:prstGeom prst="rect">
            <a:avLst/>
          </a:prstGeom>
          <a:solidFill>
            <a:schemeClr val="tx2"/>
          </a:solidFill>
          <a:ln w="12700">
            <a:noFill/>
          </a:ln>
        </p:spPr>
        <p:txBody>
          <a:bodyPr vert="horz" lIns="91440" tIns="0" rIns="0" bIns="0" rtlCol="0" anchor="ctr" anchorCtr="0">
            <a:norm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8" name="Text Placeholder 7"/>
          <p:cNvSpPr>
            <a:spLocks noGrp="1"/>
          </p:cNvSpPr>
          <p:nvPr>
            <p:ph type="body" sz="quarter" idx="15"/>
          </p:nvPr>
        </p:nvSpPr>
        <p:spPr>
          <a:xfrm>
            <a:off x="838200" y="1874372"/>
            <a:ext cx="4014788" cy="1508105"/>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a:solidFill>
                  <a:schemeClr val="accent5"/>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 Placeholder 7"/>
          <p:cNvSpPr>
            <a:spLocks noGrp="1"/>
          </p:cNvSpPr>
          <p:nvPr>
            <p:ph type="body" sz="quarter" idx="28"/>
          </p:nvPr>
        </p:nvSpPr>
        <p:spPr>
          <a:xfrm>
            <a:off x="5205413" y="1874372"/>
            <a:ext cx="3938586" cy="1508105"/>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a:solidFill>
                  <a:schemeClr val="accent5"/>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89964965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21" name="Text Placeholder 20"/>
          <p:cNvSpPr>
            <a:spLocks noGrp="1"/>
          </p:cNvSpPr>
          <p:nvPr>
            <p:ph type="body" sz="quarter" idx="26"/>
          </p:nvPr>
        </p:nvSpPr>
        <p:spPr bwMode="gray">
          <a:xfrm>
            <a:off x="838200" y="1485900"/>
            <a:ext cx="4014788"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6" name="Text Placeholder 20"/>
          <p:cNvSpPr>
            <a:spLocks noGrp="1"/>
          </p:cNvSpPr>
          <p:nvPr>
            <p:ph type="body" sz="quarter" idx="28"/>
          </p:nvPr>
        </p:nvSpPr>
        <p:spPr bwMode="gray">
          <a:xfrm>
            <a:off x="838200" y="3786374"/>
            <a:ext cx="4014788"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3" name="Text Placeholder 20"/>
          <p:cNvSpPr>
            <a:spLocks noGrp="1"/>
          </p:cNvSpPr>
          <p:nvPr>
            <p:ph type="body" sz="quarter" idx="30"/>
          </p:nvPr>
        </p:nvSpPr>
        <p:spPr bwMode="gray">
          <a:xfrm>
            <a:off x="5205413" y="1485900"/>
            <a:ext cx="4032251"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5" name="Text Placeholder 7"/>
          <p:cNvSpPr>
            <a:spLocks noGrp="1"/>
          </p:cNvSpPr>
          <p:nvPr>
            <p:ph type="body" sz="quarter" idx="32"/>
          </p:nvPr>
        </p:nvSpPr>
        <p:spPr>
          <a:xfrm>
            <a:off x="838200" y="1881842"/>
            <a:ext cx="4014788" cy="1508105"/>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baseline="0">
                <a:solidFill>
                  <a:srgbClr val="00A3A1"/>
                </a:solidFill>
                <a:latin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7"/>
          <p:cNvSpPr>
            <a:spLocks noGrp="1"/>
          </p:cNvSpPr>
          <p:nvPr>
            <p:ph type="body" sz="quarter" idx="33"/>
          </p:nvPr>
        </p:nvSpPr>
        <p:spPr>
          <a:xfrm>
            <a:off x="838200" y="4182316"/>
            <a:ext cx="4014788" cy="1508105"/>
          </a:xfrm>
          <a:prstGeom prst="rect">
            <a:avLst/>
          </a:prstGeom>
        </p:spPr>
        <p:txBody>
          <a:bodyPr vert="horz" lIns="0" tIns="45720" rIns="0" bIns="0"/>
          <a:lstStyle>
            <a:lvl1pPr>
              <a:defRPr>
                <a:latin typeface="Univers for KPMG"/>
                <a:cs typeface="Univers for KPMG"/>
              </a:defRPr>
            </a:lvl1pPr>
            <a:lvl2pPr>
              <a:defRPr>
                <a:latin typeface="Univers for KPMG Light" panose="020B0403020202020204" pitchFamily="34" charset="0"/>
                <a:cs typeface="Univers for KPMG Light" panose="020B0403020202020204" pitchFamily="34" charset="0"/>
              </a:defRPr>
            </a:lvl2pPr>
            <a:lvl3pPr>
              <a:defRPr>
                <a:latin typeface="Univers for KPMG Light" panose="020B0403020202020204" pitchFamily="34" charset="0"/>
                <a:cs typeface="Univers for KPMG Light" panose="020B0403020202020204" pitchFamily="34" charset="0"/>
              </a:defRPr>
            </a:lvl3pPr>
            <a:lvl4pPr>
              <a:defRPr>
                <a:latin typeface="Univers for KPMG Light" panose="020B0403020202020204" pitchFamily="34" charset="0"/>
                <a:cs typeface="Univers for KPMG Light" panose="020B0403020202020204" pitchFamily="34" charset="0"/>
              </a:defRPr>
            </a:lvl4pPr>
            <a:lvl5pPr>
              <a:defRPr baseline="0">
                <a:solidFill>
                  <a:srgbClr val="00A3A1"/>
                </a:solidFill>
                <a:latin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20"/>
          <p:cNvSpPr>
            <a:spLocks noGrp="1"/>
          </p:cNvSpPr>
          <p:nvPr>
            <p:ph type="body" sz="quarter" idx="34"/>
          </p:nvPr>
        </p:nvSpPr>
        <p:spPr bwMode="gray">
          <a:xfrm>
            <a:off x="5205413" y="3786374"/>
            <a:ext cx="4032251" cy="387856"/>
          </a:xfrm>
          <a:prstGeom prst="rect">
            <a:avLst/>
          </a:prstGeom>
          <a:solidFill>
            <a:srgbClr val="00A3A1"/>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8" name="Text Placeholder 7"/>
          <p:cNvSpPr>
            <a:spLocks noGrp="1"/>
          </p:cNvSpPr>
          <p:nvPr>
            <p:ph type="body" sz="quarter" idx="35"/>
          </p:nvPr>
        </p:nvSpPr>
        <p:spPr>
          <a:xfrm>
            <a:off x="5205413" y="1881842"/>
            <a:ext cx="4032251" cy="1508105"/>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a:solidFill>
                  <a:srgbClr val="00A3A1"/>
                </a:solidFill>
                <a:latin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3" name="Text Placeholder 7"/>
          <p:cNvSpPr>
            <a:spLocks noGrp="1"/>
          </p:cNvSpPr>
          <p:nvPr>
            <p:ph type="body" sz="quarter" idx="36"/>
          </p:nvPr>
        </p:nvSpPr>
        <p:spPr>
          <a:xfrm>
            <a:off x="5205413" y="4182316"/>
            <a:ext cx="4032251" cy="1508105"/>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baseline="0">
                <a:solidFill>
                  <a:srgbClr val="00A3A1"/>
                </a:solidFill>
                <a:latin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7043213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613" y="1589"/>
          <a:ext cx="1611" cy="1587"/>
        </p:xfrm>
        <a:graphic>
          <a:graphicData uri="http://schemas.openxmlformats.org/presentationml/2006/ole">
            <mc:AlternateContent xmlns:mc="http://schemas.openxmlformats.org/markup-compatibility/2006">
              <mc:Choice xmlns:v="urn:schemas-microsoft-com:vml" Requires="v">
                <p:oleObj spid="_x0000_s10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613" y="1589"/>
                        <a:ext cx="1611"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Text Placeholder 4"/>
          <p:cNvSpPr>
            <a:spLocks noGrp="1"/>
          </p:cNvSpPr>
          <p:nvPr>
            <p:ph type="body" sz="quarter" idx="11" hasCustomPrompt="1"/>
          </p:nvPr>
        </p:nvSpPr>
        <p:spPr>
          <a:xfrm>
            <a:off x="838302" y="188397"/>
            <a:ext cx="8381797" cy="184666"/>
          </a:xfrm>
        </p:spPr>
        <p:txBody>
          <a:bodyPr anchor="b"/>
          <a:lstStyle>
            <a:lvl1pPr>
              <a:spcAft>
                <a:spcPts val="0"/>
              </a:spcAft>
              <a:defRPr sz="1200"/>
            </a:lvl1pPr>
          </a:lstStyle>
          <a:p>
            <a:pPr lvl="0"/>
            <a:r>
              <a:rPr lang="en-US" dirty="0" smtClean="0"/>
              <a:t>Super title here</a:t>
            </a:r>
          </a:p>
        </p:txBody>
      </p:sp>
    </p:spTree>
    <p:extLst>
      <p:ext uri="{BB962C8B-B14F-4D97-AF65-F5344CB8AC3E}">
        <p14:creationId xmlns:p14="http://schemas.microsoft.com/office/powerpoint/2010/main" val="31162182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3 - No image">
    <p:spTree>
      <p:nvGrpSpPr>
        <p:cNvPr id="1" name=""/>
        <p:cNvGrpSpPr/>
        <p:nvPr/>
      </p:nvGrpSpPr>
      <p:grpSpPr>
        <a:xfrm>
          <a:off x="0" y="0"/>
          <a:ext cx="0" cy="0"/>
          <a:chOff x="0" y="0"/>
          <a:chExt cx="0" cy="0"/>
        </a:xfrm>
      </p:grpSpPr>
      <p:sp>
        <p:nvSpPr>
          <p:cNvPr id="8" name="object 3"/>
          <p:cNvSpPr/>
          <p:nvPr userDrawn="1"/>
        </p:nvSpPr>
        <p:spPr>
          <a:xfrm>
            <a:off x="0" y="0"/>
            <a:ext cx="100584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bg1"/>
          </a:solidFill>
        </p:spPr>
        <p:txBody>
          <a:bodyPr wrap="square" lIns="0" tIns="0" rIns="0" bIns="0" rtlCol="0">
            <a:noAutofit/>
          </a:bodyPr>
          <a:lstStyle/>
          <a:p>
            <a:endParaRPr sz="1800"/>
          </a:p>
        </p:txBody>
      </p:sp>
      <p:sp>
        <p:nvSpPr>
          <p:cNvPr id="3" name="object 3"/>
          <p:cNvSpPr/>
          <p:nvPr userDrawn="1"/>
        </p:nvSpPr>
        <p:spPr>
          <a:xfrm>
            <a:off x="0" y="0"/>
            <a:ext cx="1746504"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a:p>
        </p:txBody>
      </p:sp>
    </p:spTree>
    <p:extLst>
      <p:ext uri="{BB962C8B-B14F-4D97-AF65-F5344CB8AC3E}">
        <p14:creationId xmlns:p14="http://schemas.microsoft.com/office/powerpoint/2010/main" val="131830373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TLE SLIDE 1 - Right light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1"/>
            <a:ext cx="10058400" cy="6858000"/>
          </a:xfrm>
          <a:prstGeom prst="rect">
            <a:avLst/>
          </a:prstGeom>
        </p:spPr>
      </p:pic>
      <p:sp>
        <p:nvSpPr>
          <p:cNvPr id="8" name="Title 1"/>
          <p:cNvSpPr>
            <a:spLocks noGrp="1"/>
          </p:cNvSpPr>
          <p:nvPr>
            <p:ph type="ctrTitle" hasCustomPrompt="1"/>
          </p:nvPr>
        </p:nvSpPr>
        <p:spPr>
          <a:xfrm>
            <a:off x="809182" y="1435300"/>
            <a:ext cx="5429422" cy="3510000"/>
          </a:xfrm>
        </p:spPr>
        <p:txBody>
          <a:bodyPr anchor="t" anchorCtr="0"/>
          <a:lstStyle>
            <a:lvl1pPr algn="l">
              <a:defRPr sz="9075" baseline="0">
                <a:solidFill>
                  <a:schemeClr val="bg1"/>
                </a:solidFill>
              </a:defRPr>
            </a:lvl1pPr>
          </a:lstStyle>
          <a:p>
            <a:r>
              <a:rPr lang="en-GB" dirty="0"/>
              <a:t>Title slide 1</a:t>
            </a:r>
            <a:br>
              <a:rPr lang="en-GB" dirty="0"/>
            </a:br>
            <a:r>
              <a:rPr lang="en-GB" dirty="0"/>
              <a:t>light right vertical image</a:t>
            </a:r>
            <a:endParaRPr lang="en-US" dirty="0"/>
          </a:p>
        </p:txBody>
      </p:sp>
      <p:sp>
        <p:nvSpPr>
          <p:cNvPr id="16" name="Freeform 19"/>
          <p:cNvSpPr>
            <a:spLocks noChangeAspect="1" noEditPoints="1"/>
          </p:cNvSpPr>
          <p:nvPr userDrawn="1"/>
        </p:nvSpPr>
        <p:spPr bwMode="auto">
          <a:xfrm>
            <a:off x="825104"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841851" y="5390900"/>
            <a:ext cx="5396752"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1695180017"/>
      </p:ext>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060686" cy="6858000"/>
          </a:xfrm>
          <a:prstGeom prst="rect">
            <a:avLst/>
          </a:prstGeom>
        </p:spPr>
      </p:pic>
      <p:sp>
        <p:nvSpPr>
          <p:cNvPr id="8" name="Title 1"/>
          <p:cNvSpPr>
            <a:spLocks noGrp="1"/>
          </p:cNvSpPr>
          <p:nvPr>
            <p:ph type="ctrTitle" hasCustomPrompt="1"/>
          </p:nvPr>
        </p:nvSpPr>
        <p:spPr>
          <a:xfrm>
            <a:off x="809182" y="1435300"/>
            <a:ext cx="5429422" cy="3510000"/>
          </a:xfrm>
        </p:spPr>
        <p:txBody>
          <a:bodyPr anchor="t" anchorCtr="0"/>
          <a:lstStyle>
            <a:lvl1pPr algn="l">
              <a:defRPr sz="9075" baseline="0">
                <a:solidFill>
                  <a:schemeClr val="bg1"/>
                </a:solidFill>
              </a:defRPr>
            </a:lvl1pPr>
          </a:lstStyle>
          <a:p>
            <a:r>
              <a:rPr lang="en-GB" dirty="0"/>
              <a:t>Title slide 2</a:t>
            </a:r>
            <a:br>
              <a:rPr lang="en-GB" dirty="0"/>
            </a:br>
            <a:r>
              <a:rPr lang="en-GB" dirty="0"/>
              <a:t>right dark vertical image</a:t>
            </a:r>
            <a:endParaRPr lang="en-US" dirty="0"/>
          </a:p>
        </p:txBody>
      </p:sp>
      <p:sp>
        <p:nvSpPr>
          <p:cNvPr id="16" name="Freeform 19"/>
          <p:cNvSpPr>
            <a:spLocks noChangeAspect="1" noEditPoints="1"/>
          </p:cNvSpPr>
          <p:nvPr userDrawn="1"/>
        </p:nvSpPr>
        <p:spPr bwMode="auto">
          <a:xfrm>
            <a:off x="825104"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841851" y="5390900"/>
            <a:ext cx="5396752"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2764926577"/>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143" y="1"/>
            <a:ext cx="10058400" cy="6858000"/>
          </a:xfrm>
          <a:prstGeom prst="rect">
            <a:avLst/>
          </a:prstGeom>
        </p:spPr>
      </p:pic>
      <p:sp>
        <p:nvSpPr>
          <p:cNvPr id="8" name="Title 1"/>
          <p:cNvSpPr>
            <a:spLocks noGrp="1"/>
          </p:cNvSpPr>
          <p:nvPr>
            <p:ph type="ctrTitle" hasCustomPrompt="1"/>
          </p:nvPr>
        </p:nvSpPr>
        <p:spPr>
          <a:xfrm>
            <a:off x="3979150" y="1435300"/>
            <a:ext cx="5330397" cy="3510000"/>
          </a:xfrm>
        </p:spPr>
        <p:txBody>
          <a:bodyPr anchor="t" anchorCtr="0"/>
          <a:lstStyle>
            <a:lvl1pPr algn="l">
              <a:defRPr sz="9075" baseline="0">
                <a:solidFill>
                  <a:schemeClr val="bg1"/>
                </a:solidFill>
              </a:defRPr>
            </a:lvl1pPr>
          </a:lstStyle>
          <a:p>
            <a:r>
              <a:rPr lang="en-GB" dirty="0"/>
              <a:t>Title slide 3</a:t>
            </a:r>
            <a:br>
              <a:rPr lang="en-GB" dirty="0"/>
            </a:br>
            <a:r>
              <a:rPr lang="en-GB" dirty="0"/>
              <a:t>left light vertical image</a:t>
            </a:r>
            <a:endParaRPr lang="en-US" dirty="0"/>
          </a:p>
        </p:txBody>
      </p:sp>
      <p:sp>
        <p:nvSpPr>
          <p:cNvPr id="16" name="Freeform 19"/>
          <p:cNvSpPr>
            <a:spLocks noChangeAspect="1" noEditPoints="1"/>
          </p:cNvSpPr>
          <p:nvPr userDrawn="1"/>
        </p:nvSpPr>
        <p:spPr bwMode="auto">
          <a:xfrm>
            <a:off x="3995072"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4011819" y="5390900"/>
            <a:ext cx="5297018"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946567053"/>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0060686" cy="6858000"/>
          </a:xfrm>
          <a:prstGeom prst="rect">
            <a:avLst/>
          </a:prstGeom>
        </p:spPr>
      </p:pic>
      <p:sp>
        <p:nvSpPr>
          <p:cNvPr id="8" name="Title 1"/>
          <p:cNvSpPr>
            <a:spLocks noGrp="1"/>
          </p:cNvSpPr>
          <p:nvPr>
            <p:ph type="ctrTitle" hasCustomPrompt="1"/>
          </p:nvPr>
        </p:nvSpPr>
        <p:spPr>
          <a:xfrm>
            <a:off x="3206115" y="1435300"/>
            <a:ext cx="6033731" cy="3510000"/>
          </a:xfrm>
        </p:spPr>
        <p:txBody>
          <a:bodyPr anchor="t" anchorCtr="0"/>
          <a:lstStyle>
            <a:lvl1pPr algn="l">
              <a:defRPr sz="9075" baseline="0">
                <a:solidFill>
                  <a:schemeClr val="bg1"/>
                </a:solidFill>
              </a:defRPr>
            </a:lvl1pPr>
          </a:lstStyle>
          <a:p>
            <a:r>
              <a:rPr lang="en-GB" dirty="0"/>
              <a:t>Title slide 4</a:t>
            </a:r>
            <a:br>
              <a:rPr lang="en-GB" dirty="0"/>
            </a:br>
            <a:r>
              <a:rPr lang="en-GB" dirty="0"/>
              <a:t>left dark vertical image</a:t>
            </a:r>
            <a:endParaRPr lang="en-US" dirty="0"/>
          </a:p>
        </p:txBody>
      </p:sp>
      <p:sp>
        <p:nvSpPr>
          <p:cNvPr id="16" name="Freeform 19"/>
          <p:cNvSpPr>
            <a:spLocks noChangeAspect="1" noEditPoints="1"/>
          </p:cNvSpPr>
          <p:nvPr userDrawn="1"/>
        </p:nvSpPr>
        <p:spPr bwMode="auto">
          <a:xfrm>
            <a:off x="3222037"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7" name="Text Placeholder 3"/>
          <p:cNvSpPr>
            <a:spLocks noGrp="1"/>
          </p:cNvSpPr>
          <p:nvPr>
            <p:ph type="body" sz="quarter" idx="11"/>
          </p:nvPr>
        </p:nvSpPr>
        <p:spPr>
          <a:xfrm>
            <a:off x="3238784" y="5390900"/>
            <a:ext cx="5995947"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1290076314"/>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86" y="1"/>
            <a:ext cx="10060686" cy="6858000"/>
          </a:xfrm>
          <a:prstGeom prst="rect">
            <a:avLst/>
          </a:prstGeom>
        </p:spPr>
      </p:pic>
      <p:sp>
        <p:nvSpPr>
          <p:cNvPr id="17"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8" name="Title 1"/>
          <p:cNvSpPr>
            <a:spLocks noGrp="1"/>
          </p:cNvSpPr>
          <p:nvPr>
            <p:ph type="ctrTitle" hasCustomPrompt="1"/>
          </p:nvPr>
        </p:nvSpPr>
        <p:spPr>
          <a:xfrm>
            <a:off x="2235637" y="1435300"/>
            <a:ext cx="5793767" cy="3510000"/>
          </a:xfrm>
        </p:spPr>
        <p:txBody>
          <a:bodyPr anchor="t" anchorCtr="0"/>
          <a:lstStyle>
            <a:lvl1pPr algn="l">
              <a:defRPr sz="9075"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16"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7" name="Text Placeholder 3"/>
          <p:cNvSpPr>
            <a:spLocks noGrp="1"/>
          </p:cNvSpPr>
          <p:nvPr>
            <p:ph type="body" sz="quarter" idx="11"/>
          </p:nvPr>
        </p:nvSpPr>
        <p:spPr>
          <a:xfrm>
            <a:off x="2268307" y="5390900"/>
            <a:ext cx="5761097"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554115897"/>
      </p:ext>
    </p:extLst>
  </p:cSld>
  <p:clrMapOvr>
    <a:masterClrMapping/>
  </p:clrMapOvr>
  <p:extLst mod="1">
    <p:ext uri="{DCECCB84-F9BA-43D5-87BE-67443E8EF086}">
      <p15:sldGuideLst xmlns:p15="http://schemas.microsoft.com/office/powerpoint/2012/main">
        <p15:guide id="1" pos="173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7"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8" name="Title 1"/>
          <p:cNvSpPr>
            <a:spLocks noGrp="1"/>
          </p:cNvSpPr>
          <p:nvPr>
            <p:ph type="ctrTitle" hasCustomPrompt="1"/>
          </p:nvPr>
        </p:nvSpPr>
        <p:spPr>
          <a:xfrm>
            <a:off x="2235637" y="1435300"/>
            <a:ext cx="7004209" cy="3510000"/>
          </a:xfrm>
        </p:spPr>
        <p:txBody>
          <a:bodyPr anchor="t" anchorCtr="0"/>
          <a:lstStyle>
            <a:lvl1pPr algn="l">
              <a:defRPr sz="9075" baseline="0">
                <a:solidFill>
                  <a:schemeClr val="bg1"/>
                </a:solidFill>
              </a:defRPr>
            </a:lvl1pPr>
          </a:lstStyle>
          <a:p>
            <a:r>
              <a:rPr lang="en-GB" dirty="0"/>
              <a:t>Title Slide 6 – </a:t>
            </a:r>
            <a:br>
              <a:rPr lang="en-GB" dirty="0"/>
            </a:br>
            <a:r>
              <a:rPr lang="en-GB" dirty="0"/>
              <a:t>no image</a:t>
            </a:r>
            <a:endParaRPr lang="en-US" dirty="0"/>
          </a:p>
        </p:txBody>
      </p:sp>
      <p:sp>
        <p:nvSpPr>
          <p:cNvPr id="10"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34678115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405616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23680" y="1330126"/>
            <a:ext cx="841104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45780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1330126"/>
            <a:ext cx="40986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5132160" y="1330126"/>
            <a:ext cx="40986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386768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1330126"/>
            <a:ext cx="40986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5132160" y="1330126"/>
            <a:ext cx="4098600" cy="45468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11028845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
            <a:ext cx="10115550" cy="6861199"/>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7723"/>
            <a:ext cx="2004163" cy="1480486"/>
          </a:xfrm>
          <a:prstGeom prst="rect">
            <a:avLst/>
          </a:prstGeom>
        </p:spPr>
      </p:pic>
      <p:sp>
        <p:nvSpPr>
          <p:cNvPr id="2" name="Title 1"/>
          <p:cNvSpPr>
            <a:spLocks noGrp="1"/>
          </p:cNvSpPr>
          <p:nvPr>
            <p:ph type="title"/>
          </p:nvPr>
        </p:nvSpPr>
        <p:spPr>
          <a:xfrm>
            <a:off x="311111" y="1347395"/>
            <a:ext cx="5884699" cy="3703320"/>
          </a:xfrm>
        </p:spPr>
        <p:txBody>
          <a:bodyPr anchor="t" anchorCtr="0"/>
          <a:lstStyle>
            <a:lvl1pPr>
              <a:lnSpc>
                <a:spcPct val="70000"/>
              </a:lnSpc>
              <a:defRPr sz="11000" b="0" i="0">
                <a:solidFill>
                  <a:srgbClr val="00338D"/>
                </a:solidFill>
                <a:latin typeface="KPMG Extralight"/>
                <a:cs typeface="KPMG Extralight"/>
              </a:defRPr>
            </a:lvl1pPr>
          </a:lstStyle>
          <a:p>
            <a:r>
              <a:rPr lang="en-US" dirty="0" smtClean="0"/>
              <a:t>Click to edit Master title style</a:t>
            </a:r>
            <a:endParaRPr lang="en-US" dirty="0"/>
          </a:p>
        </p:txBody>
      </p:sp>
      <p:sp>
        <p:nvSpPr>
          <p:cNvPr id="6" name="Text Placeholder 6"/>
          <p:cNvSpPr>
            <a:spLocks noGrp="1"/>
          </p:cNvSpPr>
          <p:nvPr>
            <p:ph type="body" sz="quarter" idx="11"/>
          </p:nvPr>
        </p:nvSpPr>
        <p:spPr>
          <a:xfrm>
            <a:off x="288950" y="5075767"/>
            <a:ext cx="5436605" cy="276999"/>
          </a:xfrm>
          <a:prstGeom prst="rect">
            <a:avLst/>
          </a:prstGeom>
        </p:spPr>
        <p:txBody>
          <a:bodyPr vert="horz"/>
          <a:lstStyle>
            <a:lvl1pPr>
              <a:spcBef>
                <a:spcPts val="280"/>
              </a:spcBef>
              <a:spcAft>
                <a:spcPts val="0"/>
              </a:spcAft>
              <a:defRPr sz="1800" b="1">
                <a:solidFill>
                  <a:srgbClr val="00338D"/>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pic>
        <p:nvPicPr>
          <p:cNvPr id="12" name="Picture 11"/>
          <p:cNvPicPr>
            <a:picLocks noChangeAspect="1"/>
          </p:cNvPicPr>
          <p:nvPr userDrawn="1"/>
        </p:nvPicPr>
        <p:blipFill rotWithShape="1">
          <a:blip r:embed="rId4">
            <a:extLst>
              <a:ext uri="{28A0092B-C50C-407E-A947-70E740481C1C}">
                <a14:useLocalDpi xmlns:a14="http://schemas.microsoft.com/office/drawing/2010/main" val="0"/>
              </a:ext>
            </a:extLst>
          </a:blip>
          <a:srcRect r="31562"/>
          <a:stretch/>
        </p:blipFill>
        <p:spPr>
          <a:xfrm>
            <a:off x="5933551" y="0"/>
            <a:ext cx="4181999" cy="6858000"/>
          </a:xfrm>
          <a:prstGeom prst="rect">
            <a:avLst/>
          </a:prstGeom>
        </p:spPr>
      </p:pic>
    </p:spTree>
    <p:extLst>
      <p:ext uri="{BB962C8B-B14F-4D97-AF65-F5344CB8AC3E}">
        <p14:creationId xmlns:p14="http://schemas.microsoft.com/office/powerpoint/2010/main" val="334128148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5132160" y="1330126"/>
            <a:ext cx="4098600" cy="4546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827640" y="1330126"/>
            <a:ext cx="4098600" cy="45468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13230556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3742126"/>
            <a:ext cx="84110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827640" y="1331360"/>
            <a:ext cx="8411040" cy="213574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27672627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3754080" y="1331360"/>
            <a:ext cx="2589840" cy="2134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827640" y="1331360"/>
            <a:ext cx="2629440" cy="21348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827640" y="3742126"/>
            <a:ext cx="26294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6640920" y="1331360"/>
            <a:ext cx="2589840" cy="21348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3714480" y="3742126"/>
            <a:ext cx="26294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601320" y="3742126"/>
            <a:ext cx="26294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058592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827640" y="1330126"/>
            <a:ext cx="8411040" cy="4546800"/>
          </a:xfrm>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28908809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2"/>
            <a:ext cx="10058400" cy="5876925"/>
          </a:xfrm>
        </p:spPr>
        <p:txBody>
          <a:bodyPr anchor="ctr"/>
          <a:lstStyle>
            <a:lvl1pPr algn="ctr">
              <a:defRPr/>
            </a:lvl1pPr>
          </a:lstStyle>
          <a:p>
            <a:r>
              <a:rPr lang="en-US"/>
              <a:t>Click icon to add picture</a:t>
            </a:r>
            <a:endParaRPr lang="en-GB" dirty="0"/>
          </a:p>
        </p:txBody>
      </p:sp>
      <p:sp>
        <p:nvSpPr>
          <p:cNvPr id="6" name="Shape 8"/>
          <p:cNvSpPr txBox="1">
            <a:spLocks/>
          </p:cNvSpPr>
          <p:nvPr userDrawn="1"/>
        </p:nvSpPr>
        <p:spPr>
          <a:xfrm>
            <a:off x="8860037" y="6266997"/>
            <a:ext cx="3709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825" smtClean="0">
                <a:solidFill>
                  <a:srgbClr val="00338D"/>
                </a:solidFill>
                <a:cs typeface="Arial" panose="020B0604020202020204" pitchFamily="34" charset="0"/>
              </a:rPr>
              <a:pPr algn="r"/>
              <a:t>‹Nr.›</a:t>
            </a:fld>
            <a:endParaRPr lang="en-US" sz="825" dirty="0">
              <a:solidFill>
                <a:srgbClr val="00338D"/>
              </a:solidFill>
              <a:cs typeface="Arial" panose="020B0604020202020204" pitchFamily="34" charset="0"/>
            </a:endParaRPr>
          </a:p>
        </p:txBody>
      </p:sp>
      <p:sp>
        <p:nvSpPr>
          <p:cNvPr id="7" name="TextBox 6"/>
          <p:cNvSpPr txBox="1"/>
          <p:nvPr userDrawn="1"/>
        </p:nvSpPr>
        <p:spPr>
          <a:xfrm>
            <a:off x="1843821" y="6266997"/>
            <a:ext cx="6399360" cy="370800"/>
          </a:xfrm>
          <a:prstGeom prst="rect">
            <a:avLst/>
          </a:prstGeom>
          <a:noFill/>
        </p:spPr>
        <p:txBody>
          <a:bodyPr wrap="square" lIns="0" tIns="0" rIns="0" bIns="0" rtlCol="0">
            <a:noAutofit/>
          </a:bodyPr>
          <a:lstStyle/>
          <a:p>
            <a:pPr defTabSz="754380">
              <a:defRPr/>
            </a:pPr>
            <a:r>
              <a:rPr lang="en-GB" sz="495" dirty="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4173840" y="6637578"/>
            <a:ext cx="1861200" cy="109552"/>
          </a:xfrm>
          <a:prstGeom prst="rect">
            <a:avLst/>
          </a:prstGeom>
          <a:noFill/>
        </p:spPr>
        <p:txBody>
          <a:bodyPr wrap="square" lIns="0" tIns="0" rIns="0" bIns="0" rtlCol="0">
            <a:noAutofit/>
          </a:bodyPr>
          <a:lstStyle/>
          <a:p>
            <a:pPr algn="ctr" defTabSz="754380">
              <a:defRPr/>
            </a:pPr>
            <a:r>
              <a:rPr lang="en-GB" sz="495" b="1" dirty="0">
                <a:solidFill>
                  <a:srgbClr val="000000"/>
                </a:solidFill>
              </a:rPr>
              <a:t>Document Classification: KPMG Confidential</a:t>
            </a:r>
          </a:p>
        </p:txBody>
      </p:sp>
      <p:sp>
        <p:nvSpPr>
          <p:cNvPr id="9"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1943788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54133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25502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96871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827640" y="1322388"/>
            <a:ext cx="1548360" cy="604800"/>
          </a:xfrm>
          <a:prstGeom prst="homePlate">
            <a:avLst>
              <a:gd name="adj" fmla="val 31970"/>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54133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25502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96871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8240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8240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924171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98320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3876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9432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820737" y="1322388"/>
            <a:ext cx="1936440" cy="604800"/>
          </a:xfrm>
          <a:prstGeom prst="homePlate">
            <a:avLst>
              <a:gd name="adj" fmla="val 31970"/>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978598" y="1322388"/>
            <a:ext cx="193644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36459" y="1322388"/>
            <a:ext cx="193644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94320" y="1322388"/>
            <a:ext cx="193644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34039925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4377912" y="2757950"/>
            <a:ext cx="1370321" cy="1659600"/>
          </a:xfrm>
          <a:prstGeom prst="ellipse">
            <a:avLst/>
          </a:prstGeom>
          <a:solidFill>
            <a:schemeClr val="accent1"/>
          </a:solidFill>
          <a:ln>
            <a:noFill/>
          </a:ln>
        </p:spPr>
        <p:txBody>
          <a:bodyPr lIns="54000" tIns="54000" rIns="54000" bIns="54000" anchor="ctr" anchorCtr="1">
            <a:noAutofit/>
          </a:bodyPr>
          <a:lstStyle>
            <a:lvl1pPr algn="ctr">
              <a:defRPr sz="1155">
                <a:solidFill>
                  <a:schemeClr val="bg1"/>
                </a:solidFill>
                <a:latin typeface="+mn-lt"/>
                <a:cs typeface="Arial" panose="020B0604020202020204" pitchFamily="34" charset="0"/>
              </a:defRPr>
            </a:lvl1pPr>
          </a:lstStyle>
          <a:p>
            <a:pPr lvl="0"/>
            <a:r>
              <a:rPr lang="en-US"/>
              <a:t>Edit Master text styles</a:t>
            </a:r>
          </a:p>
        </p:txBody>
      </p:sp>
      <p:sp>
        <p:nvSpPr>
          <p:cNvPr id="17" name="Text Placeholder 20"/>
          <p:cNvSpPr>
            <a:spLocks noGrp="1"/>
          </p:cNvSpPr>
          <p:nvPr>
            <p:ph type="body" sz="quarter" idx="26"/>
          </p:nvPr>
        </p:nvSpPr>
        <p:spPr bwMode="gray">
          <a:xfrm>
            <a:off x="827762" y="1322388"/>
            <a:ext cx="3174348"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155"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6" name="Text Placeholder 20"/>
          <p:cNvSpPr>
            <a:spLocks noGrp="1"/>
          </p:cNvSpPr>
          <p:nvPr>
            <p:ph type="body" sz="quarter" idx="48"/>
          </p:nvPr>
        </p:nvSpPr>
        <p:spPr bwMode="gray">
          <a:xfrm>
            <a:off x="827762" y="4015250"/>
            <a:ext cx="3174348"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99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7" name="Text Placeholder 20"/>
          <p:cNvSpPr>
            <a:spLocks noGrp="1"/>
          </p:cNvSpPr>
          <p:nvPr>
            <p:ph type="body" sz="quarter" idx="50"/>
          </p:nvPr>
        </p:nvSpPr>
        <p:spPr bwMode="gray">
          <a:xfrm>
            <a:off x="6058801" y="1322388"/>
            <a:ext cx="3174348"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155"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8" name="Text Placeholder 20"/>
          <p:cNvSpPr>
            <a:spLocks noGrp="1"/>
          </p:cNvSpPr>
          <p:nvPr>
            <p:ph type="body" sz="quarter" idx="52"/>
          </p:nvPr>
        </p:nvSpPr>
        <p:spPr bwMode="gray">
          <a:xfrm>
            <a:off x="6058801" y="4015250"/>
            <a:ext cx="3174348"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155"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9" name="AutoShape 20"/>
          <p:cNvSpPr>
            <a:spLocks noChangeArrowheads="1"/>
          </p:cNvSpPr>
          <p:nvPr userDrawn="1"/>
        </p:nvSpPr>
        <p:spPr bwMode="gray">
          <a:xfrm rot="2700000">
            <a:off x="4164667" y="2512524"/>
            <a:ext cx="382279" cy="414761"/>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
        <p:nvSpPr>
          <p:cNvPr id="31" name="Text Placeholder 3"/>
          <p:cNvSpPr>
            <a:spLocks noGrp="1"/>
          </p:cNvSpPr>
          <p:nvPr>
            <p:ph type="body" sz="quarter" idx="53"/>
          </p:nvPr>
        </p:nvSpPr>
        <p:spPr>
          <a:xfrm>
            <a:off x="827761" y="1718873"/>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827761" y="4404050"/>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6057228" y="1718873"/>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6057228" y="4404050"/>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5562957" y="2468534"/>
            <a:ext cx="315380"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
        <p:nvSpPr>
          <p:cNvPr id="21" name="AutoShape 20"/>
          <p:cNvSpPr>
            <a:spLocks noChangeArrowheads="1"/>
          </p:cNvSpPr>
          <p:nvPr userDrawn="1"/>
        </p:nvSpPr>
        <p:spPr bwMode="gray">
          <a:xfrm rot="18900000" flipV="1">
            <a:off x="4198115" y="4310034"/>
            <a:ext cx="315380"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
        <p:nvSpPr>
          <p:cNvPr id="22" name="AutoShape 20"/>
          <p:cNvSpPr>
            <a:spLocks noChangeArrowheads="1"/>
          </p:cNvSpPr>
          <p:nvPr userDrawn="1"/>
        </p:nvSpPr>
        <p:spPr bwMode="gray">
          <a:xfrm rot="2700000" flipH="1" flipV="1">
            <a:off x="5529507" y="4354024"/>
            <a:ext cx="382279" cy="414761"/>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Tree>
    <p:extLst>
      <p:ext uri="{BB962C8B-B14F-4D97-AF65-F5344CB8AC3E}">
        <p14:creationId xmlns:p14="http://schemas.microsoft.com/office/powerpoint/2010/main" val="6832944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827640" y="1708150"/>
            <a:ext cx="4098600" cy="4168775"/>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82764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16" name="Text Placeholder 8"/>
          <p:cNvSpPr>
            <a:spLocks noGrp="1"/>
          </p:cNvSpPr>
          <p:nvPr>
            <p:ph type="body" sz="quarter" idx="21"/>
          </p:nvPr>
        </p:nvSpPr>
        <p:spPr>
          <a:xfrm>
            <a:off x="5132160" y="1708150"/>
            <a:ext cx="4098600" cy="4168775"/>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513216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Tree>
    <p:extLst>
      <p:ext uri="{BB962C8B-B14F-4D97-AF65-F5344CB8AC3E}">
        <p14:creationId xmlns:p14="http://schemas.microsoft.com/office/powerpoint/2010/main" val="9722752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827640" y="1708150"/>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82764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15" name="Text Placeholder 8"/>
          <p:cNvSpPr>
            <a:spLocks noGrp="1"/>
          </p:cNvSpPr>
          <p:nvPr>
            <p:ph type="body" sz="quarter" idx="21"/>
          </p:nvPr>
        </p:nvSpPr>
        <p:spPr>
          <a:xfrm>
            <a:off x="5132160" y="1708150"/>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513216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21" name="Text Placeholder 8"/>
          <p:cNvSpPr>
            <a:spLocks noGrp="1"/>
          </p:cNvSpPr>
          <p:nvPr>
            <p:ph type="body" sz="quarter" idx="23"/>
          </p:nvPr>
        </p:nvSpPr>
        <p:spPr>
          <a:xfrm>
            <a:off x="827640" y="4117976"/>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827640" y="3741920"/>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23" name="Text Placeholder 8"/>
          <p:cNvSpPr>
            <a:spLocks noGrp="1"/>
          </p:cNvSpPr>
          <p:nvPr>
            <p:ph type="body" sz="quarter" idx="25"/>
          </p:nvPr>
        </p:nvSpPr>
        <p:spPr>
          <a:xfrm>
            <a:off x="5132160" y="4117976"/>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5132160" y="3741920"/>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Tree>
    <p:extLst>
      <p:ext uri="{BB962C8B-B14F-4D97-AF65-F5344CB8AC3E}">
        <p14:creationId xmlns:p14="http://schemas.microsoft.com/office/powerpoint/2010/main" val="5302831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9050"/>
            <a:ext cx="10058400" cy="6896100"/>
          </a:xfrm>
          <a:prstGeom prst="rect">
            <a:avLst/>
          </a:prstGeom>
        </p:spPr>
      </p:pic>
      <p:pic>
        <p:nvPicPr>
          <p:cNvPr id="6" name="Picture 5" descr="KPMG_NoCP_white_US_283_6780.eps"/>
          <p:cNvPicPr>
            <a:picLocks noChangeAspect="1"/>
          </p:cNvPicPr>
          <p:nvPr userDrawn="1"/>
        </p:nvPicPr>
        <p:blipFill rotWithShape="1">
          <a:blip r:embed="rId3" cstate="email">
            <a:extLst>
              <a:ext uri="{28A0092B-C50C-407E-A947-70E740481C1C}">
                <a14:useLocalDpi xmlns:a14="http://schemas.microsoft.com/office/drawing/2010/main"/>
              </a:ext>
            </a:extLst>
          </a:blip>
          <a:srcRect l="7816" t="22176" r="7816" b="22176"/>
          <a:stretch/>
        </p:blipFill>
        <p:spPr>
          <a:xfrm>
            <a:off x="762000" y="6313749"/>
            <a:ext cx="557213" cy="271448"/>
          </a:xfrm>
          <a:prstGeom prst="rect">
            <a:avLst/>
          </a:prstGeom>
        </p:spPr>
      </p:pic>
      <p:sp>
        <p:nvSpPr>
          <p:cNvPr id="9" name="Rectangle 8">
            <a:hlinkClick r:id="rId4"/>
          </p:cNvPr>
          <p:cNvSpPr/>
          <p:nvPr userDrawn="1"/>
        </p:nvSpPr>
        <p:spPr>
          <a:xfrm>
            <a:off x="7302674" y="5294089"/>
            <a:ext cx="2750934"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7" name="Shape 36"/>
          <p:cNvSpPr/>
          <p:nvPr userDrawn="1"/>
        </p:nvSpPr>
        <p:spPr>
          <a:xfrm>
            <a:off x="1901952" y="6320118"/>
            <a:ext cx="6400801" cy="403412"/>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LT Std 45 Light"/>
                <a:ea typeface="Univers LT Std 45 Light"/>
                <a:cs typeface="Univers LT Std 45 Light"/>
                <a:sym typeface="Univers LT Std 45 Light"/>
              </a:defRPr>
            </a:lvl1pPr>
          </a:lstStyle>
          <a:p>
            <a:pPr lvl="0">
              <a:defRPr sz="1800">
                <a:solidFill>
                  <a:srgbClr val="000000"/>
                </a:solidFill>
              </a:defRPr>
            </a:pPr>
            <a:r>
              <a:rPr sz="600" dirty="0">
                <a:solidFill>
                  <a:schemeClr val="bg1"/>
                </a:solidFill>
                <a:latin typeface="Univers for KPMG Light"/>
                <a:ea typeface="Univers for KPMG Light"/>
                <a:cs typeface="Univers for KPMG Light"/>
              </a:rPr>
              <a:t>©KPMG 2015. </a:t>
            </a:r>
            <a:r>
              <a:rPr sz="600" dirty="0" smtClean="0">
                <a:solidFill>
                  <a:schemeClr val="bg1"/>
                </a:solidFill>
                <a:latin typeface="Univers for KPMG Light"/>
                <a:ea typeface="Univers for KPMG Light"/>
                <a:cs typeface="Univers for KPMG Light"/>
              </a:rPr>
              <a:t>Inset </a:t>
            </a:r>
            <a:r>
              <a:rPr sz="600" dirty="0">
                <a:solidFill>
                  <a:schemeClr val="bg1"/>
                </a:solidFill>
                <a:latin typeface="Univers for KPMG Light"/>
                <a:ea typeface="Univers for KPMG Light"/>
                <a:cs typeface="Univers for KPMG Light"/>
              </a:rPr>
              <a:t>copyright information here. Imagnimus inciis sed maximus, acepedi psandi occum qui coribus et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a:t>
            </a:r>
            <a:r>
              <a:rPr sz="600" dirty="0" smtClean="0">
                <a:solidFill>
                  <a:schemeClr val="bg1"/>
                </a:solidFill>
                <a:latin typeface="Univers for KPMG Light"/>
                <a:ea typeface="Univers for KPMG Light"/>
                <a:cs typeface="Univers for KPMG Light"/>
              </a:rPr>
              <a:t>ellautes.</a:t>
            </a:r>
            <a:endParaRPr sz="600" dirty="0">
              <a:solidFill>
                <a:schemeClr val="bg1"/>
              </a:solidFill>
              <a:latin typeface="Univers for KPMG Light"/>
              <a:ea typeface="Univers for KPMG Light"/>
              <a:cs typeface="Univers for KPMG Light"/>
            </a:endParaRPr>
          </a:p>
        </p:txBody>
      </p:sp>
      <p:sp>
        <p:nvSpPr>
          <p:cNvPr id="11" name="Shape 8"/>
          <p:cNvSpPr txBox="1">
            <a:spLocks/>
          </p:cNvSpPr>
          <p:nvPr userDrawn="1"/>
        </p:nvSpPr>
        <p:spPr>
          <a:xfrm>
            <a:off x="7916333" y="6379415"/>
            <a:ext cx="132133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LT Std 55 Roman"/>
                <a:ea typeface="Univers LT Std 55 Roman"/>
                <a:cs typeface="Univers LT Std 55 Roman"/>
                <a:sym typeface="Univers LT Std 55 Roman"/>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chemeClr val="bg1"/>
                </a:solidFill>
              </a:rPr>
              <a:pPr algn="r"/>
              <a:t>‹Nr.›</a:t>
            </a:fld>
            <a:endParaRPr lang="en-US" dirty="0">
              <a:solidFill>
                <a:schemeClr val="bg1"/>
              </a:solidFill>
            </a:endParaRPr>
          </a:p>
        </p:txBody>
      </p:sp>
    </p:spTree>
    <p:extLst>
      <p:ext uri="{BB962C8B-B14F-4D97-AF65-F5344CB8AC3E}">
        <p14:creationId xmlns:p14="http://schemas.microsoft.com/office/powerpoint/2010/main" val="5614474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8624" t="16167" r="19535" b="11976"/>
          <a:stretch/>
        </p:blipFill>
        <p:spPr>
          <a:xfrm>
            <a:off x="0" y="0"/>
            <a:ext cx="10058400" cy="6858000"/>
          </a:xfrm>
          <a:prstGeom prst="rect">
            <a:avLst/>
          </a:prstGeom>
        </p:spPr>
      </p:pic>
      <p:sp>
        <p:nvSpPr>
          <p:cNvPr id="5"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40085322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20198242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33090881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21892963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36125463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grpSp>
        <p:nvGrpSpPr>
          <p:cNvPr id="4" name="Group 41"/>
          <p:cNvGrpSpPr>
            <a:grpSpLocks noChangeAspect="1"/>
          </p:cNvGrpSpPr>
          <p:nvPr userDrawn="1"/>
        </p:nvGrpSpPr>
        <p:grpSpPr bwMode="auto">
          <a:xfrm>
            <a:off x="4422307" y="1930400"/>
            <a:ext cx="1070486" cy="4041775"/>
            <a:chOff x="3518" y="1159"/>
            <a:chExt cx="644" cy="2006"/>
          </a:xfrm>
        </p:grpSpPr>
        <p:sp>
          <p:nvSpPr>
            <p:cNvPr id="5" name="Freeform 42"/>
            <p:cNvSpPr>
              <a:spLocks/>
            </p:cNvSpPr>
            <p:nvPr/>
          </p:nvSpPr>
          <p:spPr bwMode="auto">
            <a:xfrm>
              <a:off x="3713" y="1166"/>
              <a:ext cx="247"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 name="Freeform 43"/>
            <p:cNvSpPr>
              <a:spLocks/>
            </p:cNvSpPr>
            <p:nvPr/>
          </p:nvSpPr>
          <p:spPr bwMode="auto">
            <a:xfrm>
              <a:off x="3853" y="3037"/>
              <a:ext cx="116"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7" name="Freeform 44"/>
            <p:cNvSpPr>
              <a:spLocks/>
            </p:cNvSpPr>
            <p:nvPr/>
          </p:nvSpPr>
          <p:spPr bwMode="auto">
            <a:xfrm>
              <a:off x="3729"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8" name="Freeform 45"/>
            <p:cNvSpPr>
              <a:spLocks/>
            </p:cNvSpPr>
            <p:nvPr/>
          </p:nvSpPr>
          <p:spPr bwMode="auto">
            <a:xfrm>
              <a:off x="3647" y="1442"/>
              <a:ext cx="368"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9" name="Freeform 46"/>
            <p:cNvSpPr>
              <a:spLocks/>
            </p:cNvSpPr>
            <p:nvPr/>
          </p:nvSpPr>
          <p:spPr bwMode="auto">
            <a:xfrm>
              <a:off x="3784" y="1442"/>
              <a:ext cx="114"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0" name="Freeform 47"/>
            <p:cNvSpPr>
              <a:spLocks/>
            </p:cNvSpPr>
            <p:nvPr/>
          </p:nvSpPr>
          <p:spPr bwMode="auto">
            <a:xfrm>
              <a:off x="3722" y="1184"/>
              <a:ext cx="238"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1" name="Freeform 48"/>
            <p:cNvSpPr>
              <a:spLocks/>
            </p:cNvSpPr>
            <p:nvPr/>
          </p:nvSpPr>
          <p:spPr bwMode="auto">
            <a:xfrm>
              <a:off x="3702" y="1159"/>
              <a:ext cx="272"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2" name="Freeform 49"/>
            <p:cNvSpPr>
              <a:spLocks/>
            </p:cNvSpPr>
            <p:nvPr/>
          </p:nvSpPr>
          <p:spPr bwMode="auto">
            <a:xfrm>
              <a:off x="3656"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3" name="Freeform 50"/>
            <p:cNvSpPr>
              <a:spLocks/>
            </p:cNvSpPr>
            <p:nvPr/>
          </p:nvSpPr>
          <p:spPr bwMode="auto">
            <a:xfrm>
              <a:off x="3875" y="1546"/>
              <a:ext cx="145"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4" name="Freeform 51"/>
            <p:cNvSpPr>
              <a:spLocks/>
            </p:cNvSpPr>
            <p:nvPr/>
          </p:nvSpPr>
          <p:spPr bwMode="auto">
            <a:xfrm>
              <a:off x="3951" y="1541"/>
              <a:ext cx="158" cy="249"/>
            </a:xfrm>
            <a:custGeom>
              <a:avLst/>
              <a:gdLst>
                <a:gd name="T0" fmla="*/ 41 w 89"/>
                <a:gd name="T1" fmla="*/ 20 h 141"/>
                <a:gd name="T2" fmla="*/ 89 w 89"/>
                <a:gd name="T3" fmla="*/ 104 h 141"/>
                <a:gd name="T4" fmla="*/ 53 w 89"/>
                <a:gd name="T5" fmla="*/ 141 h 141"/>
                <a:gd name="T6" fmla="*/ 20 w 89"/>
                <a:gd name="T7" fmla="*/ 100 h 141"/>
                <a:gd name="T8" fmla="*/ 41 w 89"/>
                <a:gd name="T9" fmla="*/ 20 h 141"/>
              </a:gdLst>
              <a:ahLst/>
              <a:cxnLst>
                <a:cxn ang="0">
                  <a:pos x="T0" y="T1"/>
                </a:cxn>
                <a:cxn ang="0">
                  <a:pos x="T2" y="T3"/>
                </a:cxn>
                <a:cxn ang="0">
                  <a:pos x="T4" y="T5"/>
                </a:cxn>
                <a:cxn ang="0">
                  <a:pos x="T6" y="T7"/>
                </a:cxn>
                <a:cxn ang="0">
                  <a:pos x="T8" y="T9"/>
                </a:cxn>
              </a:cxnLst>
              <a:rect l="0" t="0" r="r" b="b"/>
              <a:pathLst>
                <a:path w="89" h="141">
                  <a:moveTo>
                    <a:pt x="41" y="20"/>
                  </a:moveTo>
                  <a:cubicBezTo>
                    <a:pt x="89" y="104"/>
                    <a:pt x="89" y="104"/>
                    <a:pt x="89" y="104"/>
                  </a:cubicBezTo>
                  <a:cubicBezTo>
                    <a:pt x="53" y="141"/>
                    <a:pt x="53" y="141"/>
                    <a:pt x="53" y="141"/>
                  </a:cubicBezTo>
                  <a:cubicBezTo>
                    <a:pt x="20" y="100"/>
                    <a:pt x="20" y="100"/>
                    <a:pt x="20" y="100"/>
                  </a:cubicBezTo>
                  <a:cubicBezTo>
                    <a:pt x="0" y="74"/>
                    <a:pt x="26" y="0"/>
                    <a:pt x="41" y="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5" name="Freeform 52"/>
            <p:cNvSpPr>
              <a:spLocks/>
            </p:cNvSpPr>
            <p:nvPr/>
          </p:nvSpPr>
          <p:spPr bwMode="auto">
            <a:xfrm>
              <a:off x="383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6" name="Freeform 53"/>
            <p:cNvSpPr>
              <a:spLocks/>
            </p:cNvSpPr>
            <p:nvPr/>
          </p:nvSpPr>
          <p:spPr bwMode="auto">
            <a:xfrm>
              <a:off x="3649" y="1995"/>
              <a:ext cx="219"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7" name="Freeform 54"/>
            <p:cNvSpPr>
              <a:spLocks/>
            </p:cNvSpPr>
            <p:nvPr/>
          </p:nvSpPr>
          <p:spPr bwMode="auto">
            <a:xfrm>
              <a:off x="3898" y="1728"/>
              <a:ext cx="264" cy="361"/>
            </a:xfrm>
            <a:custGeom>
              <a:avLst/>
              <a:gdLst>
                <a:gd name="T0" fmla="*/ 117 w 149"/>
                <a:gd name="T1" fmla="*/ 0 h 204"/>
                <a:gd name="T2" fmla="*/ 141 w 149"/>
                <a:gd name="T3" fmla="*/ 38 h 204"/>
                <a:gd name="T4" fmla="*/ 144 w 149"/>
                <a:gd name="T5" fmla="*/ 64 h 204"/>
                <a:gd name="T6" fmla="*/ 118 w 149"/>
                <a:gd name="T7" fmla="*/ 112 h 204"/>
                <a:gd name="T8" fmla="*/ 89 w 149"/>
                <a:gd name="T9" fmla="*/ 150 h 204"/>
                <a:gd name="T10" fmla="*/ 78 w 149"/>
                <a:gd name="T11" fmla="*/ 169 h 204"/>
                <a:gd name="T12" fmla="*/ 58 w 149"/>
                <a:gd name="T13" fmla="*/ 186 h 204"/>
                <a:gd name="T14" fmla="*/ 43 w 149"/>
                <a:gd name="T15" fmla="*/ 199 h 204"/>
                <a:gd name="T16" fmla="*/ 36 w 149"/>
                <a:gd name="T17" fmla="*/ 200 h 204"/>
                <a:gd name="T18" fmla="*/ 40 w 149"/>
                <a:gd name="T19" fmla="*/ 194 h 204"/>
                <a:gd name="T20" fmla="*/ 47 w 149"/>
                <a:gd name="T21" fmla="*/ 184 h 204"/>
                <a:gd name="T22" fmla="*/ 47 w 149"/>
                <a:gd name="T23" fmla="*/ 183 h 204"/>
                <a:gd name="T24" fmla="*/ 28 w 149"/>
                <a:gd name="T25" fmla="*/ 198 h 204"/>
                <a:gd name="T26" fmla="*/ 22 w 149"/>
                <a:gd name="T27" fmla="*/ 193 h 204"/>
                <a:gd name="T28" fmla="*/ 41 w 149"/>
                <a:gd name="T29" fmla="*/ 176 h 204"/>
                <a:gd name="T30" fmla="*/ 41 w 149"/>
                <a:gd name="T31" fmla="*/ 173 h 204"/>
                <a:gd name="T32" fmla="*/ 17 w 149"/>
                <a:gd name="T33" fmla="*/ 191 h 204"/>
                <a:gd name="T34" fmla="*/ 11 w 149"/>
                <a:gd name="T35" fmla="*/ 184 h 204"/>
                <a:gd name="T36" fmla="*/ 33 w 149"/>
                <a:gd name="T37" fmla="*/ 166 h 204"/>
                <a:gd name="T38" fmla="*/ 32 w 149"/>
                <a:gd name="T39" fmla="*/ 164 h 204"/>
                <a:gd name="T40" fmla="*/ 18 w 149"/>
                <a:gd name="T41" fmla="*/ 173 h 204"/>
                <a:gd name="T42" fmla="*/ 9 w 149"/>
                <a:gd name="T43" fmla="*/ 180 h 204"/>
                <a:gd name="T44" fmla="*/ 5 w 149"/>
                <a:gd name="T45" fmla="*/ 172 h 204"/>
                <a:gd name="T46" fmla="*/ 22 w 149"/>
                <a:gd name="T47" fmla="*/ 159 h 204"/>
                <a:gd name="T48" fmla="*/ 45 w 149"/>
                <a:gd name="T49" fmla="*/ 143 h 204"/>
                <a:gd name="T50" fmla="*/ 44 w 149"/>
                <a:gd name="T51" fmla="*/ 137 h 204"/>
                <a:gd name="T52" fmla="*/ 60 w 149"/>
                <a:gd name="T53" fmla="*/ 134 h 204"/>
                <a:gd name="T54" fmla="*/ 75 w 149"/>
                <a:gd name="T55" fmla="*/ 126 h 204"/>
                <a:gd name="T56" fmla="*/ 104 w 149"/>
                <a:gd name="T57" fmla="*/ 58 h 204"/>
                <a:gd name="T58" fmla="*/ 87 w 149"/>
                <a:gd name="T59" fmla="*/ 31 h 204"/>
                <a:gd name="T60" fmla="*/ 117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117" y="0"/>
                  </a:moveTo>
                  <a:cubicBezTo>
                    <a:pt x="141" y="38"/>
                    <a:pt x="141" y="38"/>
                    <a:pt x="141" y="38"/>
                  </a:cubicBezTo>
                  <a:cubicBezTo>
                    <a:pt x="149" y="50"/>
                    <a:pt x="148" y="53"/>
                    <a:pt x="144" y="64"/>
                  </a:cubicBezTo>
                  <a:cubicBezTo>
                    <a:pt x="137" y="83"/>
                    <a:pt x="130" y="95"/>
                    <a:pt x="118" y="112"/>
                  </a:cubicBezTo>
                  <a:cubicBezTo>
                    <a:pt x="105" y="131"/>
                    <a:pt x="103" y="125"/>
                    <a:pt x="89" y="150"/>
                  </a:cubicBezTo>
                  <a:cubicBezTo>
                    <a:pt x="83" y="160"/>
                    <a:pt x="82" y="165"/>
                    <a:pt x="78" y="169"/>
                  </a:cubicBezTo>
                  <a:cubicBezTo>
                    <a:pt x="71" y="176"/>
                    <a:pt x="65" y="180"/>
                    <a:pt x="58" y="186"/>
                  </a:cubicBezTo>
                  <a:cubicBezTo>
                    <a:pt x="54" y="189"/>
                    <a:pt x="49" y="193"/>
                    <a:pt x="43" y="199"/>
                  </a:cubicBezTo>
                  <a:cubicBezTo>
                    <a:pt x="40" y="202"/>
                    <a:pt x="38" y="201"/>
                    <a:pt x="36" y="200"/>
                  </a:cubicBezTo>
                  <a:cubicBezTo>
                    <a:pt x="35" y="199"/>
                    <a:pt x="36" y="199"/>
                    <a:pt x="40" y="194"/>
                  </a:cubicBezTo>
                  <a:cubicBezTo>
                    <a:pt x="47" y="184"/>
                    <a:pt x="47" y="184"/>
                    <a:pt x="47" y="184"/>
                  </a:cubicBezTo>
                  <a:cubicBezTo>
                    <a:pt x="51" y="180"/>
                    <a:pt x="52" y="179"/>
                    <a:pt x="47" y="183"/>
                  </a:cubicBezTo>
                  <a:cubicBezTo>
                    <a:pt x="40" y="188"/>
                    <a:pt x="35" y="192"/>
                    <a:pt x="28" y="198"/>
                  </a:cubicBezTo>
                  <a:cubicBezTo>
                    <a:pt x="22" y="204"/>
                    <a:pt x="17" y="199"/>
                    <a:pt x="22" y="193"/>
                  </a:cubicBezTo>
                  <a:cubicBezTo>
                    <a:pt x="41" y="176"/>
                    <a:pt x="41" y="176"/>
                    <a:pt x="41" y="176"/>
                  </a:cubicBezTo>
                  <a:cubicBezTo>
                    <a:pt x="44" y="172"/>
                    <a:pt x="44" y="171"/>
                    <a:pt x="41" y="173"/>
                  </a:cubicBezTo>
                  <a:cubicBezTo>
                    <a:pt x="33" y="180"/>
                    <a:pt x="24" y="184"/>
                    <a:pt x="17" y="191"/>
                  </a:cubicBezTo>
                  <a:cubicBezTo>
                    <a:pt x="8" y="196"/>
                    <a:pt x="5" y="189"/>
                    <a:pt x="11" y="184"/>
                  </a:cubicBezTo>
                  <a:cubicBezTo>
                    <a:pt x="13" y="182"/>
                    <a:pt x="26" y="171"/>
                    <a:pt x="33" y="166"/>
                  </a:cubicBezTo>
                  <a:cubicBezTo>
                    <a:pt x="40" y="161"/>
                    <a:pt x="35" y="162"/>
                    <a:pt x="32" y="164"/>
                  </a:cubicBezTo>
                  <a:cubicBezTo>
                    <a:pt x="27" y="167"/>
                    <a:pt x="22" y="170"/>
                    <a:pt x="18" y="173"/>
                  </a:cubicBezTo>
                  <a:cubicBezTo>
                    <a:pt x="15" y="175"/>
                    <a:pt x="12" y="178"/>
                    <a:pt x="9" y="180"/>
                  </a:cubicBezTo>
                  <a:cubicBezTo>
                    <a:pt x="3" y="183"/>
                    <a:pt x="0" y="177"/>
                    <a:pt x="5" y="172"/>
                  </a:cubicBezTo>
                  <a:cubicBezTo>
                    <a:pt x="9" y="168"/>
                    <a:pt x="16" y="163"/>
                    <a:pt x="22" y="159"/>
                  </a:cubicBezTo>
                  <a:cubicBezTo>
                    <a:pt x="45" y="143"/>
                    <a:pt x="45" y="143"/>
                    <a:pt x="45" y="143"/>
                  </a:cubicBezTo>
                  <a:cubicBezTo>
                    <a:pt x="45" y="142"/>
                    <a:pt x="43" y="138"/>
                    <a:pt x="44" y="137"/>
                  </a:cubicBezTo>
                  <a:cubicBezTo>
                    <a:pt x="47" y="135"/>
                    <a:pt x="54" y="135"/>
                    <a:pt x="60" y="134"/>
                  </a:cubicBezTo>
                  <a:cubicBezTo>
                    <a:pt x="71" y="134"/>
                    <a:pt x="69" y="135"/>
                    <a:pt x="75" y="126"/>
                  </a:cubicBezTo>
                  <a:cubicBezTo>
                    <a:pt x="91" y="101"/>
                    <a:pt x="89" y="90"/>
                    <a:pt x="104" y="58"/>
                  </a:cubicBezTo>
                  <a:cubicBezTo>
                    <a:pt x="87" y="31"/>
                    <a:pt x="87" y="31"/>
                    <a:pt x="87" y="31"/>
                  </a:cubicBezTo>
                  <a:lnTo>
                    <a:pt x="117"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8" name="Freeform 55"/>
            <p:cNvSpPr>
              <a:spLocks/>
            </p:cNvSpPr>
            <p:nvPr/>
          </p:nvSpPr>
          <p:spPr bwMode="auto">
            <a:xfrm>
              <a:off x="3571"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9" name="Freeform 56"/>
            <p:cNvSpPr>
              <a:spLocks/>
            </p:cNvSpPr>
            <p:nvPr/>
          </p:nvSpPr>
          <p:spPr bwMode="auto">
            <a:xfrm>
              <a:off x="3518"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20" name="Freeform 57"/>
            <p:cNvSpPr>
              <a:spLocks/>
            </p:cNvSpPr>
            <p:nvPr/>
          </p:nvSpPr>
          <p:spPr bwMode="auto">
            <a:xfrm>
              <a:off x="3770" y="1995"/>
              <a:ext cx="98"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spTree>
    <p:extLst>
      <p:ext uri="{BB962C8B-B14F-4D97-AF65-F5344CB8AC3E}">
        <p14:creationId xmlns:p14="http://schemas.microsoft.com/office/powerpoint/2010/main" val="14383242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grpSp>
        <p:nvGrpSpPr>
          <p:cNvPr id="4" name="Group 41"/>
          <p:cNvGrpSpPr>
            <a:grpSpLocks noChangeAspect="1"/>
          </p:cNvGrpSpPr>
          <p:nvPr userDrawn="1"/>
        </p:nvGrpSpPr>
        <p:grpSpPr bwMode="auto">
          <a:xfrm>
            <a:off x="4422307" y="1930400"/>
            <a:ext cx="1070486" cy="4041775"/>
            <a:chOff x="3518" y="1159"/>
            <a:chExt cx="644" cy="2006"/>
          </a:xfrm>
        </p:grpSpPr>
        <p:sp>
          <p:nvSpPr>
            <p:cNvPr id="5" name="Freeform 42"/>
            <p:cNvSpPr>
              <a:spLocks/>
            </p:cNvSpPr>
            <p:nvPr/>
          </p:nvSpPr>
          <p:spPr bwMode="auto">
            <a:xfrm>
              <a:off x="3713" y="1166"/>
              <a:ext cx="247"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 name="Freeform 43"/>
            <p:cNvSpPr>
              <a:spLocks/>
            </p:cNvSpPr>
            <p:nvPr/>
          </p:nvSpPr>
          <p:spPr bwMode="auto">
            <a:xfrm>
              <a:off x="3853" y="3037"/>
              <a:ext cx="116"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7" name="Freeform 44"/>
            <p:cNvSpPr>
              <a:spLocks/>
            </p:cNvSpPr>
            <p:nvPr/>
          </p:nvSpPr>
          <p:spPr bwMode="auto">
            <a:xfrm>
              <a:off x="3729"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8" name="Freeform 45"/>
            <p:cNvSpPr>
              <a:spLocks/>
            </p:cNvSpPr>
            <p:nvPr/>
          </p:nvSpPr>
          <p:spPr bwMode="auto">
            <a:xfrm>
              <a:off x="3647" y="1442"/>
              <a:ext cx="368"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9" name="Freeform 46"/>
            <p:cNvSpPr>
              <a:spLocks/>
            </p:cNvSpPr>
            <p:nvPr/>
          </p:nvSpPr>
          <p:spPr bwMode="auto">
            <a:xfrm>
              <a:off x="3784" y="1442"/>
              <a:ext cx="114"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0" name="Freeform 47"/>
            <p:cNvSpPr>
              <a:spLocks/>
            </p:cNvSpPr>
            <p:nvPr/>
          </p:nvSpPr>
          <p:spPr bwMode="auto">
            <a:xfrm>
              <a:off x="3722" y="1184"/>
              <a:ext cx="238"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1" name="Freeform 48"/>
            <p:cNvSpPr>
              <a:spLocks/>
            </p:cNvSpPr>
            <p:nvPr/>
          </p:nvSpPr>
          <p:spPr bwMode="auto">
            <a:xfrm>
              <a:off x="3702" y="1159"/>
              <a:ext cx="272"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2" name="Freeform 49"/>
            <p:cNvSpPr>
              <a:spLocks/>
            </p:cNvSpPr>
            <p:nvPr/>
          </p:nvSpPr>
          <p:spPr bwMode="auto">
            <a:xfrm>
              <a:off x="3656"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3" name="Freeform 50"/>
            <p:cNvSpPr>
              <a:spLocks/>
            </p:cNvSpPr>
            <p:nvPr/>
          </p:nvSpPr>
          <p:spPr bwMode="auto">
            <a:xfrm>
              <a:off x="3875" y="1546"/>
              <a:ext cx="145"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4" name="Freeform 51"/>
            <p:cNvSpPr>
              <a:spLocks/>
            </p:cNvSpPr>
            <p:nvPr/>
          </p:nvSpPr>
          <p:spPr bwMode="auto">
            <a:xfrm>
              <a:off x="3951" y="1541"/>
              <a:ext cx="158" cy="249"/>
            </a:xfrm>
            <a:custGeom>
              <a:avLst/>
              <a:gdLst>
                <a:gd name="T0" fmla="*/ 41 w 89"/>
                <a:gd name="T1" fmla="*/ 20 h 141"/>
                <a:gd name="T2" fmla="*/ 89 w 89"/>
                <a:gd name="T3" fmla="*/ 104 h 141"/>
                <a:gd name="T4" fmla="*/ 53 w 89"/>
                <a:gd name="T5" fmla="*/ 141 h 141"/>
                <a:gd name="T6" fmla="*/ 20 w 89"/>
                <a:gd name="T7" fmla="*/ 100 h 141"/>
                <a:gd name="T8" fmla="*/ 41 w 89"/>
                <a:gd name="T9" fmla="*/ 20 h 141"/>
              </a:gdLst>
              <a:ahLst/>
              <a:cxnLst>
                <a:cxn ang="0">
                  <a:pos x="T0" y="T1"/>
                </a:cxn>
                <a:cxn ang="0">
                  <a:pos x="T2" y="T3"/>
                </a:cxn>
                <a:cxn ang="0">
                  <a:pos x="T4" y="T5"/>
                </a:cxn>
                <a:cxn ang="0">
                  <a:pos x="T6" y="T7"/>
                </a:cxn>
                <a:cxn ang="0">
                  <a:pos x="T8" y="T9"/>
                </a:cxn>
              </a:cxnLst>
              <a:rect l="0" t="0" r="r" b="b"/>
              <a:pathLst>
                <a:path w="89" h="141">
                  <a:moveTo>
                    <a:pt x="41" y="20"/>
                  </a:moveTo>
                  <a:cubicBezTo>
                    <a:pt x="89" y="104"/>
                    <a:pt x="89" y="104"/>
                    <a:pt x="89" y="104"/>
                  </a:cubicBezTo>
                  <a:cubicBezTo>
                    <a:pt x="53" y="141"/>
                    <a:pt x="53" y="141"/>
                    <a:pt x="53" y="141"/>
                  </a:cubicBezTo>
                  <a:cubicBezTo>
                    <a:pt x="20" y="100"/>
                    <a:pt x="20" y="100"/>
                    <a:pt x="20" y="100"/>
                  </a:cubicBezTo>
                  <a:cubicBezTo>
                    <a:pt x="0" y="74"/>
                    <a:pt x="26" y="0"/>
                    <a:pt x="41" y="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5" name="Freeform 52"/>
            <p:cNvSpPr>
              <a:spLocks/>
            </p:cNvSpPr>
            <p:nvPr/>
          </p:nvSpPr>
          <p:spPr bwMode="auto">
            <a:xfrm>
              <a:off x="383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6" name="Freeform 53"/>
            <p:cNvSpPr>
              <a:spLocks/>
            </p:cNvSpPr>
            <p:nvPr/>
          </p:nvSpPr>
          <p:spPr bwMode="auto">
            <a:xfrm>
              <a:off x="3649" y="1995"/>
              <a:ext cx="219"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7" name="Freeform 54"/>
            <p:cNvSpPr>
              <a:spLocks/>
            </p:cNvSpPr>
            <p:nvPr/>
          </p:nvSpPr>
          <p:spPr bwMode="auto">
            <a:xfrm>
              <a:off x="3898" y="1728"/>
              <a:ext cx="264" cy="361"/>
            </a:xfrm>
            <a:custGeom>
              <a:avLst/>
              <a:gdLst>
                <a:gd name="T0" fmla="*/ 117 w 149"/>
                <a:gd name="T1" fmla="*/ 0 h 204"/>
                <a:gd name="T2" fmla="*/ 141 w 149"/>
                <a:gd name="T3" fmla="*/ 38 h 204"/>
                <a:gd name="T4" fmla="*/ 144 w 149"/>
                <a:gd name="T5" fmla="*/ 64 h 204"/>
                <a:gd name="T6" fmla="*/ 118 w 149"/>
                <a:gd name="T7" fmla="*/ 112 h 204"/>
                <a:gd name="T8" fmla="*/ 89 w 149"/>
                <a:gd name="T9" fmla="*/ 150 h 204"/>
                <a:gd name="T10" fmla="*/ 78 w 149"/>
                <a:gd name="T11" fmla="*/ 169 h 204"/>
                <a:gd name="T12" fmla="*/ 58 w 149"/>
                <a:gd name="T13" fmla="*/ 186 h 204"/>
                <a:gd name="T14" fmla="*/ 43 w 149"/>
                <a:gd name="T15" fmla="*/ 199 h 204"/>
                <a:gd name="T16" fmla="*/ 36 w 149"/>
                <a:gd name="T17" fmla="*/ 200 h 204"/>
                <a:gd name="T18" fmla="*/ 40 w 149"/>
                <a:gd name="T19" fmla="*/ 194 h 204"/>
                <a:gd name="T20" fmla="*/ 47 w 149"/>
                <a:gd name="T21" fmla="*/ 184 h 204"/>
                <a:gd name="T22" fmla="*/ 47 w 149"/>
                <a:gd name="T23" fmla="*/ 183 h 204"/>
                <a:gd name="T24" fmla="*/ 28 w 149"/>
                <a:gd name="T25" fmla="*/ 198 h 204"/>
                <a:gd name="T26" fmla="*/ 22 w 149"/>
                <a:gd name="T27" fmla="*/ 193 h 204"/>
                <a:gd name="T28" fmla="*/ 41 w 149"/>
                <a:gd name="T29" fmla="*/ 176 h 204"/>
                <a:gd name="T30" fmla="*/ 41 w 149"/>
                <a:gd name="T31" fmla="*/ 173 h 204"/>
                <a:gd name="T32" fmla="*/ 17 w 149"/>
                <a:gd name="T33" fmla="*/ 191 h 204"/>
                <a:gd name="T34" fmla="*/ 11 w 149"/>
                <a:gd name="T35" fmla="*/ 184 h 204"/>
                <a:gd name="T36" fmla="*/ 33 w 149"/>
                <a:gd name="T37" fmla="*/ 166 h 204"/>
                <a:gd name="T38" fmla="*/ 32 w 149"/>
                <a:gd name="T39" fmla="*/ 164 h 204"/>
                <a:gd name="T40" fmla="*/ 18 w 149"/>
                <a:gd name="T41" fmla="*/ 173 h 204"/>
                <a:gd name="T42" fmla="*/ 9 w 149"/>
                <a:gd name="T43" fmla="*/ 180 h 204"/>
                <a:gd name="T44" fmla="*/ 5 w 149"/>
                <a:gd name="T45" fmla="*/ 172 h 204"/>
                <a:gd name="T46" fmla="*/ 22 w 149"/>
                <a:gd name="T47" fmla="*/ 159 h 204"/>
                <a:gd name="T48" fmla="*/ 45 w 149"/>
                <a:gd name="T49" fmla="*/ 143 h 204"/>
                <a:gd name="T50" fmla="*/ 44 w 149"/>
                <a:gd name="T51" fmla="*/ 137 h 204"/>
                <a:gd name="T52" fmla="*/ 60 w 149"/>
                <a:gd name="T53" fmla="*/ 134 h 204"/>
                <a:gd name="T54" fmla="*/ 75 w 149"/>
                <a:gd name="T55" fmla="*/ 126 h 204"/>
                <a:gd name="T56" fmla="*/ 104 w 149"/>
                <a:gd name="T57" fmla="*/ 58 h 204"/>
                <a:gd name="T58" fmla="*/ 87 w 149"/>
                <a:gd name="T59" fmla="*/ 31 h 204"/>
                <a:gd name="T60" fmla="*/ 117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117" y="0"/>
                  </a:moveTo>
                  <a:cubicBezTo>
                    <a:pt x="141" y="38"/>
                    <a:pt x="141" y="38"/>
                    <a:pt x="141" y="38"/>
                  </a:cubicBezTo>
                  <a:cubicBezTo>
                    <a:pt x="149" y="50"/>
                    <a:pt x="148" y="53"/>
                    <a:pt x="144" y="64"/>
                  </a:cubicBezTo>
                  <a:cubicBezTo>
                    <a:pt x="137" y="83"/>
                    <a:pt x="130" y="95"/>
                    <a:pt x="118" y="112"/>
                  </a:cubicBezTo>
                  <a:cubicBezTo>
                    <a:pt x="105" y="131"/>
                    <a:pt x="103" y="125"/>
                    <a:pt x="89" y="150"/>
                  </a:cubicBezTo>
                  <a:cubicBezTo>
                    <a:pt x="83" y="160"/>
                    <a:pt x="82" y="165"/>
                    <a:pt x="78" y="169"/>
                  </a:cubicBezTo>
                  <a:cubicBezTo>
                    <a:pt x="71" y="176"/>
                    <a:pt x="65" y="180"/>
                    <a:pt x="58" y="186"/>
                  </a:cubicBezTo>
                  <a:cubicBezTo>
                    <a:pt x="54" y="189"/>
                    <a:pt x="49" y="193"/>
                    <a:pt x="43" y="199"/>
                  </a:cubicBezTo>
                  <a:cubicBezTo>
                    <a:pt x="40" y="202"/>
                    <a:pt x="38" y="201"/>
                    <a:pt x="36" y="200"/>
                  </a:cubicBezTo>
                  <a:cubicBezTo>
                    <a:pt x="35" y="199"/>
                    <a:pt x="36" y="199"/>
                    <a:pt x="40" y="194"/>
                  </a:cubicBezTo>
                  <a:cubicBezTo>
                    <a:pt x="47" y="184"/>
                    <a:pt x="47" y="184"/>
                    <a:pt x="47" y="184"/>
                  </a:cubicBezTo>
                  <a:cubicBezTo>
                    <a:pt x="51" y="180"/>
                    <a:pt x="52" y="179"/>
                    <a:pt x="47" y="183"/>
                  </a:cubicBezTo>
                  <a:cubicBezTo>
                    <a:pt x="40" y="188"/>
                    <a:pt x="35" y="192"/>
                    <a:pt x="28" y="198"/>
                  </a:cubicBezTo>
                  <a:cubicBezTo>
                    <a:pt x="22" y="204"/>
                    <a:pt x="17" y="199"/>
                    <a:pt x="22" y="193"/>
                  </a:cubicBezTo>
                  <a:cubicBezTo>
                    <a:pt x="41" y="176"/>
                    <a:pt x="41" y="176"/>
                    <a:pt x="41" y="176"/>
                  </a:cubicBezTo>
                  <a:cubicBezTo>
                    <a:pt x="44" y="172"/>
                    <a:pt x="44" y="171"/>
                    <a:pt x="41" y="173"/>
                  </a:cubicBezTo>
                  <a:cubicBezTo>
                    <a:pt x="33" y="180"/>
                    <a:pt x="24" y="184"/>
                    <a:pt x="17" y="191"/>
                  </a:cubicBezTo>
                  <a:cubicBezTo>
                    <a:pt x="8" y="196"/>
                    <a:pt x="5" y="189"/>
                    <a:pt x="11" y="184"/>
                  </a:cubicBezTo>
                  <a:cubicBezTo>
                    <a:pt x="13" y="182"/>
                    <a:pt x="26" y="171"/>
                    <a:pt x="33" y="166"/>
                  </a:cubicBezTo>
                  <a:cubicBezTo>
                    <a:pt x="40" y="161"/>
                    <a:pt x="35" y="162"/>
                    <a:pt x="32" y="164"/>
                  </a:cubicBezTo>
                  <a:cubicBezTo>
                    <a:pt x="27" y="167"/>
                    <a:pt x="22" y="170"/>
                    <a:pt x="18" y="173"/>
                  </a:cubicBezTo>
                  <a:cubicBezTo>
                    <a:pt x="15" y="175"/>
                    <a:pt x="12" y="178"/>
                    <a:pt x="9" y="180"/>
                  </a:cubicBezTo>
                  <a:cubicBezTo>
                    <a:pt x="3" y="183"/>
                    <a:pt x="0" y="177"/>
                    <a:pt x="5" y="172"/>
                  </a:cubicBezTo>
                  <a:cubicBezTo>
                    <a:pt x="9" y="168"/>
                    <a:pt x="16" y="163"/>
                    <a:pt x="22" y="159"/>
                  </a:cubicBezTo>
                  <a:cubicBezTo>
                    <a:pt x="45" y="143"/>
                    <a:pt x="45" y="143"/>
                    <a:pt x="45" y="143"/>
                  </a:cubicBezTo>
                  <a:cubicBezTo>
                    <a:pt x="45" y="142"/>
                    <a:pt x="43" y="138"/>
                    <a:pt x="44" y="137"/>
                  </a:cubicBezTo>
                  <a:cubicBezTo>
                    <a:pt x="47" y="135"/>
                    <a:pt x="54" y="135"/>
                    <a:pt x="60" y="134"/>
                  </a:cubicBezTo>
                  <a:cubicBezTo>
                    <a:pt x="71" y="134"/>
                    <a:pt x="69" y="135"/>
                    <a:pt x="75" y="126"/>
                  </a:cubicBezTo>
                  <a:cubicBezTo>
                    <a:pt x="91" y="101"/>
                    <a:pt x="89" y="90"/>
                    <a:pt x="104" y="58"/>
                  </a:cubicBezTo>
                  <a:cubicBezTo>
                    <a:pt x="87" y="31"/>
                    <a:pt x="87" y="31"/>
                    <a:pt x="87" y="31"/>
                  </a:cubicBezTo>
                  <a:lnTo>
                    <a:pt x="117"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8" name="Freeform 55"/>
            <p:cNvSpPr>
              <a:spLocks/>
            </p:cNvSpPr>
            <p:nvPr/>
          </p:nvSpPr>
          <p:spPr bwMode="auto">
            <a:xfrm>
              <a:off x="3571"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9" name="Freeform 56"/>
            <p:cNvSpPr>
              <a:spLocks/>
            </p:cNvSpPr>
            <p:nvPr/>
          </p:nvSpPr>
          <p:spPr bwMode="auto">
            <a:xfrm>
              <a:off x="3518"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20" name="Freeform 57"/>
            <p:cNvSpPr>
              <a:spLocks/>
            </p:cNvSpPr>
            <p:nvPr/>
          </p:nvSpPr>
          <p:spPr bwMode="auto">
            <a:xfrm>
              <a:off x="3770" y="1995"/>
              <a:ext cx="98"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spTree>
    <p:extLst>
      <p:ext uri="{BB962C8B-B14F-4D97-AF65-F5344CB8AC3E}">
        <p14:creationId xmlns:p14="http://schemas.microsoft.com/office/powerpoint/2010/main" val="9204236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grpSp>
        <p:nvGrpSpPr>
          <p:cNvPr id="4" name="Group 41"/>
          <p:cNvGrpSpPr>
            <a:grpSpLocks noChangeAspect="1"/>
          </p:cNvGrpSpPr>
          <p:nvPr userDrawn="1"/>
        </p:nvGrpSpPr>
        <p:grpSpPr bwMode="auto">
          <a:xfrm>
            <a:off x="4422307" y="1930400"/>
            <a:ext cx="1070486" cy="4041775"/>
            <a:chOff x="3518" y="1159"/>
            <a:chExt cx="644" cy="2006"/>
          </a:xfrm>
        </p:grpSpPr>
        <p:sp>
          <p:nvSpPr>
            <p:cNvPr id="5" name="Freeform 42"/>
            <p:cNvSpPr>
              <a:spLocks/>
            </p:cNvSpPr>
            <p:nvPr/>
          </p:nvSpPr>
          <p:spPr bwMode="auto">
            <a:xfrm>
              <a:off x="3713" y="1166"/>
              <a:ext cx="247"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 name="Freeform 43"/>
            <p:cNvSpPr>
              <a:spLocks/>
            </p:cNvSpPr>
            <p:nvPr/>
          </p:nvSpPr>
          <p:spPr bwMode="auto">
            <a:xfrm>
              <a:off x="3853" y="3037"/>
              <a:ext cx="116"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7" name="Freeform 44"/>
            <p:cNvSpPr>
              <a:spLocks/>
            </p:cNvSpPr>
            <p:nvPr/>
          </p:nvSpPr>
          <p:spPr bwMode="auto">
            <a:xfrm>
              <a:off x="3729"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8" name="Freeform 45"/>
            <p:cNvSpPr>
              <a:spLocks/>
            </p:cNvSpPr>
            <p:nvPr/>
          </p:nvSpPr>
          <p:spPr bwMode="auto">
            <a:xfrm>
              <a:off x="3647" y="1442"/>
              <a:ext cx="368"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9" name="Freeform 46"/>
            <p:cNvSpPr>
              <a:spLocks/>
            </p:cNvSpPr>
            <p:nvPr/>
          </p:nvSpPr>
          <p:spPr bwMode="auto">
            <a:xfrm>
              <a:off x="3784" y="1442"/>
              <a:ext cx="114"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0" name="Freeform 47"/>
            <p:cNvSpPr>
              <a:spLocks/>
            </p:cNvSpPr>
            <p:nvPr/>
          </p:nvSpPr>
          <p:spPr bwMode="auto">
            <a:xfrm>
              <a:off x="3722" y="1184"/>
              <a:ext cx="238"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1" name="Freeform 48"/>
            <p:cNvSpPr>
              <a:spLocks/>
            </p:cNvSpPr>
            <p:nvPr/>
          </p:nvSpPr>
          <p:spPr bwMode="auto">
            <a:xfrm>
              <a:off x="3702" y="1159"/>
              <a:ext cx="272"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2" name="Freeform 49"/>
            <p:cNvSpPr>
              <a:spLocks/>
            </p:cNvSpPr>
            <p:nvPr/>
          </p:nvSpPr>
          <p:spPr bwMode="auto">
            <a:xfrm>
              <a:off x="3656"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3" name="Freeform 50"/>
            <p:cNvSpPr>
              <a:spLocks/>
            </p:cNvSpPr>
            <p:nvPr/>
          </p:nvSpPr>
          <p:spPr bwMode="auto">
            <a:xfrm>
              <a:off x="3875" y="1546"/>
              <a:ext cx="145"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4" name="Freeform 51"/>
            <p:cNvSpPr>
              <a:spLocks/>
            </p:cNvSpPr>
            <p:nvPr/>
          </p:nvSpPr>
          <p:spPr bwMode="auto">
            <a:xfrm>
              <a:off x="3951" y="1541"/>
              <a:ext cx="158" cy="249"/>
            </a:xfrm>
            <a:custGeom>
              <a:avLst/>
              <a:gdLst>
                <a:gd name="T0" fmla="*/ 41 w 89"/>
                <a:gd name="T1" fmla="*/ 20 h 141"/>
                <a:gd name="T2" fmla="*/ 89 w 89"/>
                <a:gd name="T3" fmla="*/ 104 h 141"/>
                <a:gd name="T4" fmla="*/ 53 w 89"/>
                <a:gd name="T5" fmla="*/ 141 h 141"/>
                <a:gd name="T6" fmla="*/ 20 w 89"/>
                <a:gd name="T7" fmla="*/ 100 h 141"/>
                <a:gd name="T8" fmla="*/ 41 w 89"/>
                <a:gd name="T9" fmla="*/ 20 h 141"/>
              </a:gdLst>
              <a:ahLst/>
              <a:cxnLst>
                <a:cxn ang="0">
                  <a:pos x="T0" y="T1"/>
                </a:cxn>
                <a:cxn ang="0">
                  <a:pos x="T2" y="T3"/>
                </a:cxn>
                <a:cxn ang="0">
                  <a:pos x="T4" y="T5"/>
                </a:cxn>
                <a:cxn ang="0">
                  <a:pos x="T6" y="T7"/>
                </a:cxn>
                <a:cxn ang="0">
                  <a:pos x="T8" y="T9"/>
                </a:cxn>
              </a:cxnLst>
              <a:rect l="0" t="0" r="r" b="b"/>
              <a:pathLst>
                <a:path w="89" h="141">
                  <a:moveTo>
                    <a:pt x="41" y="20"/>
                  </a:moveTo>
                  <a:cubicBezTo>
                    <a:pt x="89" y="104"/>
                    <a:pt x="89" y="104"/>
                    <a:pt x="89" y="104"/>
                  </a:cubicBezTo>
                  <a:cubicBezTo>
                    <a:pt x="53" y="141"/>
                    <a:pt x="53" y="141"/>
                    <a:pt x="53" y="141"/>
                  </a:cubicBezTo>
                  <a:cubicBezTo>
                    <a:pt x="20" y="100"/>
                    <a:pt x="20" y="100"/>
                    <a:pt x="20" y="100"/>
                  </a:cubicBezTo>
                  <a:cubicBezTo>
                    <a:pt x="0" y="74"/>
                    <a:pt x="26" y="0"/>
                    <a:pt x="41" y="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5" name="Freeform 52"/>
            <p:cNvSpPr>
              <a:spLocks/>
            </p:cNvSpPr>
            <p:nvPr/>
          </p:nvSpPr>
          <p:spPr bwMode="auto">
            <a:xfrm>
              <a:off x="383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6" name="Freeform 53"/>
            <p:cNvSpPr>
              <a:spLocks/>
            </p:cNvSpPr>
            <p:nvPr/>
          </p:nvSpPr>
          <p:spPr bwMode="auto">
            <a:xfrm>
              <a:off x="3649" y="1995"/>
              <a:ext cx="219"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7" name="Freeform 54"/>
            <p:cNvSpPr>
              <a:spLocks/>
            </p:cNvSpPr>
            <p:nvPr/>
          </p:nvSpPr>
          <p:spPr bwMode="auto">
            <a:xfrm>
              <a:off x="3898" y="1728"/>
              <a:ext cx="264" cy="361"/>
            </a:xfrm>
            <a:custGeom>
              <a:avLst/>
              <a:gdLst>
                <a:gd name="T0" fmla="*/ 117 w 149"/>
                <a:gd name="T1" fmla="*/ 0 h 204"/>
                <a:gd name="T2" fmla="*/ 141 w 149"/>
                <a:gd name="T3" fmla="*/ 38 h 204"/>
                <a:gd name="T4" fmla="*/ 144 w 149"/>
                <a:gd name="T5" fmla="*/ 64 h 204"/>
                <a:gd name="T6" fmla="*/ 118 w 149"/>
                <a:gd name="T7" fmla="*/ 112 h 204"/>
                <a:gd name="T8" fmla="*/ 89 w 149"/>
                <a:gd name="T9" fmla="*/ 150 h 204"/>
                <a:gd name="T10" fmla="*/ 78 w 149"/>
                <a:gd name="T11" fmla="*/ 169 h 204"/>
                <a:gd name="T12" fmla="*/ 58 w 149"/>
                <a:gd name="T13" fmla="*/ 186 h 204"/>
                <a:gd name="T14" fmla="*/ 43 w 149"/>
                <a:gd name="T15" fmla="*/ 199 h 204"/>
                <a:gd name="T16" fmla="*/ 36 w 149"/>
                <a:gd name="T17" fmla="*/ 200 h 204"/>
                <a:gd name="T18" fmla="*/ 40 w 149"/>
                <a:gd name="T19" fmla="*/ 194 h 204"/>
                <a:gd name="T20" fmla="*/ 47 w 149"/>
                <a:gd name="T21" fmla="*/ 184 h 204"/>
                <a:gd name="T22" fmla="*/ 47 w 149"/>
                <a:gd name="T23" fmla="*/ 183 h 204"/>
                <a:gd name="T24" fmla="*/ 28 w 149"/>
                <a:gd name="T25" fmla="*/ 198 h 204"/>
                <a:gd name="T26" fmla="*/ 22 w 149"/>
                <a:gd name="T27" fmla="*/ 193 h 204"/>
                <a:gd name="T28" fmla="*/ 41 w 149"/>
                <a:gd name="T29" fmla="*/ 176 h 204"/>
                <a:gd name="T30" fmla="*/ 41 w 149"/>
                <a:gd name="T31" fmla="*/ 173 h 204"/>
                <a:gd name="T32" fmla="*/ 17 w 149"/>
                <a:gd name="T33" fmla="*/ 191 h 204"/>
                <a:gd name="T34" fmla="*/ 11 w 149"/>
                <a:gd name="T35" fmla="*/ 184 h 204"/>
                <a:gd name="T36" fmla="*/ 33 w 149"/>
                <a:gd name="T37" fmla="*/ 166 h 204"/>
                <a:gd name="T38" fmla="*/ 32 w 149"/>
                <a:gd name="T39" fmla="*/ 164 h 204"/>
                <a:gd name="T40" fmla="*/ 18 w 149"/>
                <a:gd name="T41" fmla="*/ 173 h 204"/>
                <a:gd name="T42" fmla="*/ 9 w 149"/>
                <a:gd name="T43" fmla="*/ 180 h 204"/>
                <a:gd name="T44" fmla="*/ 5 w 149"/>
                <a:gd name="T45" fmla="*/ 172 h 204"/>
                <a:gd name="T46" fmla="*/ 22 w 149"/>
                <a:gd name="T47" fmla="*/ 159 h 204"/>
                <a:gd name="T48" fmla="*/ 45 w 149"/>
                <a:gd name="T49" fmla="*/ 143 h 204"/>
                <a:gd name="T50" fmla="*/ 44 w 149"/>
                <a:gd name="T51" fmla="*/ 137 h 204"/>
                <a:gd name="T52" fmla="*/ 60 w 149"/>
                <a:gd name="T53" fmla="*/ 134 h 204"/>
                <a:gd name="T54" fmla="*/ 75 w 149"/>
                <a:gd name="T55" fmla="*/ 126 h 204"/>
                <a:gd name="T56" fmla="*/ 104 w 149"/>
                <a:gd name="T57" fmla="*/ 58 h 204"/>
                <a:gd name="T58" fmla="*/ 87 w 149"/>
                <a:gd name="T59" fmla="*/ 31 h 204"/>
                <a:gd name="T60" fmla="*/ 117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117" y="0"/>
                  </a:moveTo>
                  <a:cubicBezTo>
                    <a:pt x="141" y="38"/>
                    <a:pt x="141" y="38"/>
                    <a:pt x="141" y="38"/>
                  </a:cubicBezTo>
                  <a:cubicBezTo>
                    <a:pt x="149" y="50"/>
                    <a:pt x="148" y="53"/>
                    <a:pt x="144" y="64"/>
                  </a:cubicBezTo>
                  <a:cubicBezTo>
                    <a:pt x="137" y="83"/>
                    <a:pt x="130" y="95"/>
                    <a:pt x="118" y="112"/>
                  </a:cubicBezTo>
                  <a:cubicBezTo>
                    <a:pt x="105" y="131"/>
                    <a:pt x="103" y="125"/>
                    <a:pt x="89" y="150"/>
                  </a:cubicBezTo>
                  <a:cubicBezTo>
                    <a:pt x="83" y="160"/>
                    <a:pt x="82" y="165"/>
                    <a:pt x="78" y="169"/>
                  </a:cubicBezTo>
                  <a:cubicBezTo>
                    <a:pt x="71" y="176"/>
                    <a:pt x="65" y="180"/>
                    <a:pt x="58" y="186"/>
                  </a:cubicBezTo>
                  <a:cubicBezTo>
                    <a:pt x="54" y="189"/>
                    <a:pt x="49" y="193"/>
                    <a:pt x="43" y="199"/>
                  </a:cubicBezTo>
                  <a:cubicBezTo>
                    <a:pt x="40" y="202"/>
                    <a:pt x="38" y="201"/>
                    <a:pt x="36" y="200"/>
                  </a:cubicBezTo>
                  <a:cubicBezTo>
                    <a:pt x="35" y="199"/>
                    <a:pt x="36" y="199"/>
                    <a:pt x="40" y="194"/>
                  </a:cubicBezTo>
                  <a:cubicBezTo>
                    <a:pt x="47" y="184"/>
                    <a:pt x="47" y="184"/>
                    <a:pt x="47" y="184"/>
                  </a:cubicBezTo>
                  <a:cubicBezTo>
                    <a:pt x="51" y="180"/>
                    <a:pt x="52" y="179"/>
                    <a:pt x="47" y="183"/>
                  </a:cubicBezTo>
                  <a:cubicBezTo>
                    <a:pt x="40" y="188"/>
                    <a:pt x="35" y="192"/>
                    <a:pt x="28" y="198"/>
                  </a:cubicBezTo>
                  <a:cubicBezTo>
                    <a:pt x="22" y="204"/>
                    <a:pt x="17" y="199"/>
                    <a:pt x="22" y="193"/>
                  </a:cubicBezTo>
                  <a:cubicBezTo>
                    <a:pt x="41" y="176"/>
                    <a:pt x="41" y="176"/>
                    <a:pt x="41" y="176"/>
                  </a:cubicBezTo>
                  <a:cubicBezTo>
                    <a:pt x="44" y="172"/>
                    <a:pt x="44" y="171"/>
                    <a:pt x="41" y="173"/>
                  </a:cubicBezTo>
                  <a:cubicBezTo>
                    <a:pt x="33" y="180"/>
                    <a:pt x="24" y="184"/>
                    <a:pt x="17" y="191"/>
                  </a:cubicBezTo>
                  <a:cubicBezTo>
                    <a:pt x="8" y="196"/>
                    <a:pt x="5" y="189"/>
                    <a:pt x="11" y="184"/>
                  </a:cubicBezTo>
                  <a:cubicBezTo>
                    <a:pt x="13" y="182"/>
                    <a:pt x="26" y="171"/>
                    <a:pt x="33" y="166"/>
                  </a:cubicBezTo>
                  <a:cubicBezTo>
                    <a:pt x="40" y="161"/>
                    <a:pt x="35" y="162"/>
                    <a:pt x="32" y="164"/>
                  </a:cubicBezTo>
                  <a:cubicBezTo>
                    <a:pt x="27" y="167"/>
                    <a:pt x="22" y="170"/>
                    <a:pt x="18" y="173"/>
                  </a:cubicBezTo>
                  <a:cubicBezTo>
                    <a:pt x="15" y="175"/>
                    <a:pt x="12" y="178"/>
                    <a:pt x="9" y="180"/>
                  </a:cubicBezTo>
                  <a:cubicBezTo>
                    <a:pt x="3" y="183"/>
                    <a:pt x="0" y="177"/>
                    <a:pt x="5" y="172"/>
                  </a:cubicBezTo>
                  <a:cubicBezTo>
                    <a:pt x="9" y="168"/>
                    <a:pt x="16" y="163"/>
                    <a:pt x="22" y="159"/>
                  </a:cubicBezTo>
                  <a:cubicBezTo>
                    <a:pt x="45" y="143"/>
                    <a:pt x="45" y="143"/>
                    <a:pt x="45" y="143"/>
                  </a:cubicBezTo>
                  <a:cubicBezTo>
                    <a:pt x="45" y="142"/>
                    <a:pt x="43" y="138"/>
                    <a:pt x="44" y="137"/>
                  </a:cubicBezTo>
                  <a:cubicBezTo>
                    <a:pt x="47" y="135"/>
                    <a:pt x="54" y="135"/>
                    <a:pt x="60" y="134"/>
                  </a:cubicBezTo>
                  <a:cubicBezTo>
                    <a:pt x="71" y="134"/>
                    <a:pt x="69" y="135"/>
                    <a:pt x="75" y="126"/>
                  </a:cubicBezTo>
                  <a:cubicBezTo>
                    <a:pt x="91" y="101"/>
                    <a:pt x="89" y="90"/>
                    <a:pt x="104" y="58"/>
                  </a:cubicBezTo>
                  <a:cubicBezTo>
                    <a:pt x="87" y="31"/>
                    <a:pt x="87" y="31"/>
                    <a:pt x="87" y="31"/>
                  </a:cubicBezTo>
                  <a:lnTo>
                    <a:pt x="117"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8" name="Freeform 55"/>
            <p:cNvSpPr>
              <a:spLocks/>
            </p:cNvSpPr>
            <p:nvPr/>
          </p:nvSpPr>
          <p:spPr bwMode="auto">
            <a:xfrm>
              <a:off x="3571"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9" name="Freeform 56"/>
            <p:cNvSpPr>
              <a:spLocks/>
            </p:cNvSpPr>
            <p:nvPr/>
          </p:nvSpPr>
          <p:spPr bwMode="auto">
            <a:xfrm>
              <a:off x="3518"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20" name="Freeform 57"/>
            <p:cNvSpPr>
              <a:spLocks/>
            </p:cNvSpPr>
            <p:nvPr/>
          </p:nvSpPr>
          <p:spPr bwMode="auto">
            <a:xfrm>
              <a:off x="3770" y="1995"/>
              <a:ext cx="98"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grpSp>
        <p:nvGrpSpPr>
          <p:cNvPr id="65" name="Group 64"/>
          <p:cNvGrpSpPr/>
          <p:nvPr userDrawn="1"/>
        </p:nvGrpSpPr>
        <p:grpSpPr>
          <a:xfrm>
            <a:off x="3395039" y="1930400"/>
            <a:ext cx="1333120" cy="4041775"/>
            <a:chOff x="6695350" y="1930399"/>
            <a:chExt cx="1615903" cy="4041775"/>
          </a:xfrm>
        </p:grpSpPr>
        <p:grpSp>
          <p:nvGrpSpPr>
            <p:cNvPr id="44" name="Group 4"/>
            <p:cNvGrpSpPr>
              <a:grpSpLocks noChangeAspect="1"/>
            </p:cNvGrpSpPr>
            <p:nvPr userDrawn="1"/>
          </p:nvGrpSpPr>
          <p:grpSpPr bwMode="auto">
            <a:xfrm>
              <a:off x="6695350" y="1930399"/>
              <a:ext cx="1045704" cy="4041775"/>
              <a:chOff x="3309" y="1159"/>
              <a:chExt cx="519" cy="2006"/>
            </a:xfrm>
          </p:grpSpPr>
          <p:sp>
            <p:nvSpPr>
              <p:cNvPr id="47" name="Freeform 46"/>
              <p:cNvSpPr>
                <a:spLocks/>
              </p:cNvSpPr>
              <p:nvPr/>
            </p:nvSpPr>
            <p:spPr bwMode="auto">
              <a:xfrm>
                <a:off x="3504" y="1166"/>
                <a:ext cx="246"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48" name="Freeform 47"/>
              <p:cNvSpPr>
                <a:spLocks/>
              </p:cNvSpPr>
              <p:nvPr/>
            </p:nvSpPr>
            <p:spPr bwMode="auto">
              <a:xfrm>
                <a:off x="3644" y="3037"/>
                <a:ext cx="115"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49" name="Freeform 48"/>
              <p:cNvSpPr>
                <a:spLocks/>
              </p:cNvSpPr>
              <p:nvPr/>
            </p:nvSpPr>
            <p:spPr bwMode="auto">
              <a:xfrm>
                <a:off x="3520"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0" name="Freeform 49"/>
              <p:cNvSpPr>
                <a:spLocks/>
              </p:cNvSpPr>
              <p:nvPr/>
            </p:nvSpPr>
            <p:spPr bwMode="auto">
              <a:xfrm>
                <a:off x="3439" y="1442"/>
                <a:ext cx="366"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1" name="Freeform 50"/>
              <p:cNvSpPr>
                <a:spLocks/>
              </p:cNvSpPr>
              <p:nvPr/>
            </p:nvSpPr>
            <p:spPr bwMode="auto">
              <a:xfrm>
                <a:off x="3575" y="1442"/>
                <a:ext cx="113"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2" name="Freeform 51"/>
              <p:cNvSpPr>
                <a:spLocks/>
              </p:cNvSpPr>
              <p:nvPr/>
            </p:nvSpPr>
            <p:spPr bwMode="auto">
              <a:xfrm>
                <a:off x="3513" y="1184"/>
                <a:ext cx="237"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3" name="Freeform 52"/>
              <p:cNvSpPr>
                <a:spLocks/>
              </p:cNvSpPr>
              <p:nvPr/>
            </p:nvSpPr>
            <p:spPr bwMode="auto">
              <a:xfrm>
                <a:off x="3494" y="1159"/>
                <a:ext cx="271"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4" name="Freeform 53"/>
              <p:cNvSpPr>
                <a:spLocks/>
              </p:cNvSpPr>
              <p:nvPr/>
            </p:nvSpPr>
            <p:spPr bwMode="auto">
              <a:xfrm>
                <a:off x="3447"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5" name="Freeform 54"/>
              <p:cNvSpPr>
                <a:spLocks/>
              </p:cNvSpPr>
              <p:nvPr/>
            </p:nvSpPr>
            <p:spPr bwMode="auto">
              <a:xfrm>
                <a:off x="3665" y="1546"/>
                <a:ext cx="146"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6" name="Freeform 55"/>
              <p:cNvSpPr>
                <a:spLocks/>
              </p:cNvSpPr>
              <p:nvPr/>
            </p:nvSpPr>
            <p:spPr bwMode="auto">
              <a:xfrm>
                <a:off x="362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7" name="Freeform 56"/>
              <p:cNvSpPr>
                <a:spLocks/>
              </p:cNvSpPr>
              <p:nvPr/>
            </p:nvSpPr>
            <p:spPr bwMode="auto">
              <a:xfrm>
                <a:off x="3440" y="1995"/>
                <a:ext cx="218"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8" name="Freeform 57"/>
              <p:cNvSpPr>
                <a:spLocks/>
              </p:cNvSpPr>
              <p:nvPr/>
            </p:nvSpPr>
            <p:spPr bwMode="auto">
              <a:xfrm>
                <a:off x="3362"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9" name="Freeform 58"/>
              <p:cNvSpPr>
                <a:spLocks/>
              </p:cNvSpPr>
              <p:nvPr/>
            </p:nvSpPr>
            <p:spPr bwMode="auto">
              <a:xfrm>
                <a:off x="3309"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0" name="Freeform 59"/>
              <p:cNvSpPr>
                <a:spLocks/>
              </p:cNvSpPr>
              <p:nvPr/>
            </p:nvSpPr>
            <p:spPr bwMode="auto">
              <a:xfrm>
                <a:off x="3561" y="1995"/>
                <a:ext cx="97"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grpSp>
          <p:nvGrpSpPr>
            <p:cNvPr id="62" name="Group 4"/>
            <p:cNvGrpSpPr>
              <a:grpSpLocks noChangeAspect="1"/>
            </p:cNvGrpSpPr>
            <p:nvPr userDrawn="1"/>
          </p:nvGrpSpPr>
          <p:grpSpPr bwMode="auto">
            <a:xfrm>
              <a:off x="7592657" y="2724248"/>
              <a:ext cx="718596" cy="657562"/>
              <a:chOff x="3529" y="1878"/>
              <a:chExt cx="624" cy="571"/>
            </a:xfrm>
          </p:grpSpPr>
          <p:sp>
            <p:nvSpPr>
              <p:cNvPr id="63" name="Freeform 5"/>
              <p:cNvSpPr>
                <a:spLocks/>
              </p:cNvSpPr>
              <p:nvPr userDrawn="1"/>
            </p:nvSpPr>
            <p:spPr bwMode="auto">
              <a:xfrm>
                <a:off x="3959" y="2116"/>
                <a:ext cx="194" cy="169"/>
              </a:xfrm>
              <a:custGeom>
                <a:avLst/>
                <a:gdLst>
                  <a:gd name="T0" fmla="*/ 2 w 109"/>
                  <a:gd name="T1" fmla="*/ 47 h 95"/>
                  <a:gd name="T2" fmla="*/ 39 w 109"/>
                  <a:gd name="T3" fmla="*/ 9 h 95"/>
                  <a:gd name="T4" fmla="*/ 71 w 109"/>
                  <a:gd name="T5" fmla="*/ 4 h 95"/>
                  <a:gd name="T6" fmla="*/ 93 w 109"/>
                  <a:gd name="T7" fmla="*/ 0 h 95"/>
                  <a:gd name="T8" fmla="*/ 100 w 109"/>
                  <a:gd name="T9" fmla="*/ 6 h 95"/>
                  <a:gd name="T10" fmla="*/ 99 w 109"/>
                  <a:gd name="T11" fmla="*/ 13 h 95"/>
                  <a:gd name="T12" fmla="*/ 96 w 109"/>
                  <a:gd name="T13" fmla="*/ 16 h 95"/>
                  <a:gd name="T14" fmla="*/ 99 w 109"/>
                  <a:gd name="T15" fmla="*/ 33 h 95"/>
                  <a:gd name="T16" fmla="*/ 100 w 109"/>
                  <a:gd name="T17" fmla="*/ 51 h 95"/>
                  <a:gd name="T18" fmla="*/ 96 w 109"/>
                  <a:gd name="T19" fmla="*/ 69 h 95"/>
                  <a:gd name="T20" fmla="*/ 75 w 109"/>
                  <a:gd name="T21" fmla="*/ 77 h 95"/>
                  <a:gd name="T22" fmla="*/ 49 w 109"/>
                  <a:gd name="T23" fmla="*/ 87 h 95"/>
                  <a:gd name="T24" fmla="*/ 26 w 109"/>
                  <a:gd name="T25" fmla="*/ 88 h 95"/>
                  <a:gd name="T26" fmla="*/ 19 w 109"/>
                  <a:gd name="T27" fmla="*/ 95 h 95"/>
                  <a:gd name="T28" fmla="*/ 0 w 109"/>
                  <a:gd name="T29" fmla="*/ 70 h 95"/>
                  <a:gd name="T30" fmla="*/ 2 w 109"/>
                  <a:gd name="T31"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95">
                    <a:moveTo>
                      <a:pt x="2" y="47"/>
                    </a:moveTo>
                    <a:cubicBezTo>
                      <a:pt x="9" y="40"/>
                      <a:pt x="33" y="12"/>
                      <a:pt x="39" y="9"/>
                    </a:cubicBezTo>
                    <a:cubicBezTo>
                      <a:pt x="43" y="7"/>
                      <a:pt x="51" y="7"/>
                      <a:pt x="71" y="4"/>
                    </a:cubicBezTo>
                    <a:cubicBezTo>
                      <a:pt x="79" y="2"/>
                      <a:pt x="87" y="0"/>
                      <a:pt x="93" y="0"/>
                    </a:cubicBezTo>
                    <a:cubicBezTo>
                      <a:pt x="98" y="0"/>
                      <a:pt x="100" y="2"/>
                      <a:pt x="100" y="6"/>
                    </a:cubicBezTo>
                    <a:cubicBezTo>
                      <a:pt x="101" y="8"/>
                      <a:pt x="101" y="11"/>
                      <a:pt x="99" y="13"/>
                    </a:cubicBezTo>
                    <a:cubicBezTo>
                      <a:pt x="98" y="14"/>
                      <a:pt x="97" y="15"/>
                      <a:pt x="96" y="16"/>
                    </a:cubicBezTo>
                    <a:cubicBezTo>
                      <a:pt x="102" y="17"/>
                      <a:pt x="105" y="28"/>
                      <a:pt x="99" y="33"/>
                    </a:cubicBezTo>
                    <a:cubicBezTo>
                      <a:pt x="105" y="35"/>
                      <a:pt x="106" y="46"/>
                      <a:pt x="100" y="51"/>
                    </a:cubicBezTo>
                    <a:cubicBezTo>
                      <a:pt x="109" y="52"/>
                      <a:pt x="106" y="64"/>
                      <a:pt x="96" y="69"/>
                    </a:cubicBezTo>
                    <a:cubicBezTo>
                      <a:pt x="91" y="72"/>
                      <a:pt x="83" y="75"/>
                      <a:pt x="75" y="77"/>
                    </a:cubicBezTo>
                    <a:cubicBezTo>
                      <a:pt x="69" y="79"/>
                      <a:pt x="58" y="85"/>
                      <a:pt x="49" y="87"/>
                    </a:cubicBezTo>
                    <a:cubicBezTo>
                      <a:pt x="45" y="88"/>
                      <a:pt x="32" y="86"/>
                      <a:pt x="26" y="88"/>
                    </a:cubicBezTo>
                    <a:cubicBezTo>
                      <a:pt x="25" y="88"/>
                      <a:pt x="19" y="95"/>
                      <a:pt x="19" y="95"/>
                    </a:cubicBezTo>
                    <a:cubicBezTo>
                      <a:pt x="0" y="70"/>
                      <a:pt x="0" y="70"/>
                      <a:pt x="0" y="70"/>
                    </a:cubicBezTo>
                    <a:lnTo>
                      <a:pt x="2" y="47"/>
                    </a:lnTo>
                    <a:close/>
                  </a:path>
                </a:pathLst>
              </a:custGeom>
              <a:solidFill>
                <a:srgbClr val="FFD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4" name="Freeform 6"/>
              <p:cNvSpPr>
                <a:spLocks/>
              </p:cNvSpPr>
              <p:nvPr userDrawn="1"/>
            </p:nvSpPr>
            <p:spPr bwMode="auto">
              <a:xfrm>
                <a:off x="3529" y="1878"/>
                <a:ext cx="491" cy="571"/>
              </a:xfrm>
              <a:custGeom>
                <a:avLst/>
                <a:gdLst>
                  <a:gd name="T0" fmla="*/ 21 w 276"/>
                  <a:gd name="T1" fmla="*/ 126 h 321"/>
                  <a:gd name="T2" fmla="*/ 53 w 276"/>
                  <a:gd name="T3" fmla="*/ 295 h 321"/>
                  <a:gd name="T4" fmla="*/ 107 w 276"/>
                  <a:gd name="T5" fmla="*/ 311 h 321"/>
                  <a:gd name="T6" fmla="*/ 276 w 276"/>
                  <a:gd name="T7" fmla="*/ 224 h 321"/>
                  <a:gd name="T8" fmla="*/ 247 w 276"/>
                  <a:gd name="T9" fmla="*/ 167 h 321"/>
                  <a:gd name="T10" fmla="*/ 111 w 276"/>
                  <a:gd name="T11" fmla="*/ 242 h 321"/>
                  <a:gd name="T12" fmla="*/ 88 w 276"/>
                  <a:gd name="T13" fmla="*/ 90 h 321"/>
                  <a:gd name="T14" fmla="*/ 29 w 276"/>
                  <a:gd name="T15" fmla="*/ 0 h 321"/>
                  <a:gd name="T16" fmla="*/ 6 w 276"/>
                  <a:gd name="T17" fmla="*/ 26 h 321"/>
                  <a:gd name="T18" fmla="*/ 21 w 276"/>
                  <a:gd name="T19"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321">
                    <a:moveTo>
                      <a:pt x="21" y="126"/>
                    </a:moveTo>
                    <a:cubicBezTo>
                      <a:pt x="29" y="182"/>
                      <a:pt x="37" y="248"/>
                      <a:pt x="53" y="295"/>
                    </a:cubicBezTo>
                    <a:cubicBezTo>
                      <a:pt x="62" y="321"/>
                      <a:pt x="79" y="318"/>
                      <a:pt x="107" y="311"/>
                    </a:cubicBezTo>
                    <a:cubicBezTo>
                      <a:pt x="165" y="298"/>
                      <a:pt x="251" y="244"/>
                      <a:pt x="276" y="224"/>
                    </a:cubicBezTo>
                    <a:cubicBezTo>
                      <a:pt x="264" y="201"/>
                      <a:pt x="259" y="190"/>
                      <a:pt x="247" y="167"/>
                    </a:cubicBezTo>
                    <a:cubicBezTo>
                      <a:pt x="204" y="198"/>
                      <a:pt x="144" y="202"/>
                      <a:pt x="111" y="242"/>
                    </a:cubicBezTo>
                    <a:cubicBezTo>
                      <a:pt x="103" y="211"/>
                      <a:pt x="92" y="144"/>
                      <a:pt x="88" y="90"/>
                    </a:cubicBezTo>
                    <a:cubicBezTo>
                      <a:pt x="84" y="41"/>
                      <a:pt x="60" y="3"/>
                      <a:pt x="29" y="0"/>
                    </a:cubicBezTo>
                    <a:cubicBezTo>
                      <a:pt x="29" y="0"/>
                      <a:pt x="0" y="10"/>
                      <a:pt x="6" y="26"/>
                    </a:cubicBezTo>
                    <a:cubicBezTo>
                      <a:pt x="16" y="56"/>
                      <a:pt x="29" y="78"/>
                      <a:pt x="21" y="126"/>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grpSp>
    </p:spTree>
    <p:extLst>
      <p:ext uri="{BB962C8B-B14F-4D97-AF65-F5344CB8AC3E}">
        <p14:creationId xmlns:p14="http://schemas.microsoft.com/office/powerpoint/2010/main" val="42646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4"/>
                                        </p:tgtEl>
                                      </p:cBhvr>
                                    </p:animEffect>
                                    <p:set>
                                      <p:cBhvr>
                                        <p:cTn id="7" dur="1" fill="hold">
                                          <p:stCondLst>
                                            <p:cond delay="74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1.45833E-6 2.59259E-6 L -0.10378 2.59259E-6 " pathEditMode="relative" rAng="0" ptsTypes="AA">
                                      <p:cBhvr>
                                        <p:cTn id="9" dur="750" fill="hold"/>
                                        <p:tgtEl>
                                          <p:spTgt spid="4"/>
                                        </p:tgtEl>
                                        <p:attrNameLst>
                                          <p:attrName>ppt_x</p:attrName>
                                          <p:attrName>ppt_y</p:attrName>
                                        </p:attrNameLst>
                                      </p:cBhvr>
                                      <p:rCtr x="-5195" y="0"/>
                                    </p:animMotion>
                                  </p:childTnLst>
                                </p:cTn>
                              </p:par>
                              <p:par>
                                <p:cTn id="10" presetID="10" presetClass="entr" presetSubtype="0" fill="hold" nodeType="with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par>
                                <p:cTn id="13" presetID="42" presetClass="path" presetSubtype="0" accel="50000" decel="50000" fill="hold" nodeType="withEffect">
                                  <p:stCondLst>
                                    <p:cond delay="0"/>
                                  </p:stCondLst>
                                  <p:childTnLst>
                                    <p:animMotion origin="layout" path="M 0.06705 0.00301 L 3.95833E-6 2.59259E-6 " pathEditMode="relative" rAng="0" ptsTypes="AA">
                                      <p:cBhvr>
                                        <p:cTn id="14" dur="750" fill="hold"/>
                                        <p:tgtEl>
                                          <p:spTgt spid="65"/>
                                        </p:tgtEl>
                                        <p:attrNameLst>
                                          <p:attrName>ppt_x</p:attrName>
                                          <p:attrName>ppt_y</p:attrName>
                                        </p:attrNameLst>
                                      </p:cBhvr>
                                      <p:rCtr x="-3359" y="-1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_Custom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7701524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227585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519304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41155977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21569852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7640" y="432000"/>
            <a:ext cx="8403120" cy="518400"/>
          </a:xfrm>
        </p:spPr>
        <p:txBody>
          <a:bodyPr/>
          <a:lstStyle>
            <a:lvl1pPr>
              <a:defRPr/>
            </a:lvl1pPr>
          </a:lstStyle>
          <a:p>
            <a:r>
              <a:rPr lang="en-US" dirty="0"/>
              <a:t>Colors</a:t>
            </a:r>
          </a:p>
        </p:txBody>
      </p:sp>
      <p:grpSp>
        <p:nvGrpSpPr>
          <p:cNvPr id="20" name="Group 19"/>
          <p:cNvGrpSpPr/>
          <p:nvPr userDrawn="1"/>
        </p:nvGrpSpPr>
        <p:grpSpPr>
          <a:xfrm>
            <a:off x="1002949" y="1430719"/>
            <a:ext cx="7607041"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pPr defTabSz="754380"/>
              <a:r>
                <a:rPr lang="en-GB" sz="825" b="1" dirty="0">
                  <a:solidFill>
                    <a:srgbClr val="00338D"/>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pPr defTabSz="754380"/>
              <a:r>
                <a:rPr lang="en-GB" sz="825" b="1" dirty="0">
                  <a:solidFill>
                    <a:srgbClr val="00338D"/>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pPr defTabSz="754380"/>
              <a:r>
                <a:rPr lang="en-GB" sz="825" b="1" dirty="0">
                  <a:solidFill>
                    <a:srgbClr val="00338D"/>
                  </a:solidFill>
                </a:rPr>
                <a:t>Tertiary</a:t>
              </a: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KPMG Blue</a:t>
              </a:r>
            </a:p>
            <a:p>
              <a:pPr algn="ctr" defTabSz="754380"/>
              <a:r>
                <a:rPr lang="en-GB" sz="743">
                  <a:solidFill>
                    <a:prstClr val="white"/>
                  </a:solidFill>
                </a:rPr>
                <a:t>0 / 51 / 141</a:t>
              </a:r>
              <a:endParaRPr lang="en-GB" sz="743" dirty="0">
                <a:solidFill>
                  <a:prstClr val="white"/>
                </a:solidFill>
              </a:endParaRP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Medium Blue</a:t>
              </a:r>
            </a:p>
            <a:p>
              <a:pPr algn="ctr" defTabSz="754380"/>
              <a:r>
                <a:rPr lang="en-GB" sz="743" dirty="0">
                  <a:solidFill>
                    <a:prstClr val="white"/>
                  </a:solidFill>
                </a:rPr>
                <a:t>0 / 94 / 184</a:t>
              </a: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Blue</a:t>
              </a:r>
            </a:p>
            <a:p>
              <a:pPr algn="ctr" defTabSz="754380"/>
              <a:r>
                <a:rPr lang="en-GB" sz="743" dirty="0">
                  <a:solidFill>
                    <a:prstClr val="white"/>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Violet</a:t>
              </a:r>
            </a:p>
            <a:p>
              <a:pPr algn="ctr" defTabSz="754380"/>
              <a:r>
                <a:rPr lang="en-GB" sz="743">
                  <a:solidFill>
                    <a:prstClr val="white"/>
                  </a:solidFill>
                </a:rPr>
                <a:t>72 / 54 / 152</a:t>
              </a:r>
              <a:endParaRPr lang="en-GB" sz="743" dirty="0">
                <a:solidFill>
                  <a:prstClr val="white"/>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Purple</a:t>
              </a:r>
            </a:p>
            <a:p>
              <a:pPr algn="ctr" defTabSz="754380"/>
              <a:r>
                <a:rPr lang="en-GB" sz="743" dirty="0">
                  <a:solidFill>
                    <a:prstClr val="white"/>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Purple</a:t>
              </a:r>
            </a:p>
            <a:p>
              <a:pPr algn="ctr" defTabSz="754380"/>
              <a:r>
                <a:rPr lang="en-GB" sz="743">
                  <a:solidFill>
                    <a:prstClr val="white"/>
                  </a:solidFill>
                </a:rPr>
                <a:t>109 / 32 / 119</a:t>
              </a:r>
              <a:endParaRPr lang="en-GB" sz="743" dirty="0">
                <a:solidFill>
                  <a:prstClr val="white"/>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Green</a:t>
              </a:r>
            </a:p>
            <a:p>
              <a:pPr algn="ctr" defTabSz="754380"/>
              <a:r>
                <a:rPr lang="en-GB" sz="743">
                  <a:solidFill>
                    <a:prstClr val="white"/>
                  </a:solidFill>
                </a:rPr>
                <a:t>0 / 163 / 161</a:t>
              </a:r>
              <a:endParaRPr lang="en-GB" sz="743" dirty="0">
                <a:solidFill>
                  <a:prstClr val="white"/>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Dark Green</a:t>
              </a:r>
            </a:p>
            <a:p>
              <a:pPr algn="ctr" defTabSz="754380"/>
              <a:r>
                <a:rPr lang="en-GB" sz="743" dirty="0">
                  <a:solidFill>
                    <a:prstClr val="white"/>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Green</a:t>
              </a:r>
            </a:p>
            <a:p>
              <a:pPr algn="ctr" defTabSz="754380"/>
              <a:r>
                <a:rPr lang="en-GB" sz="743">
                  <a:solidFill>
                    <a:prstClr val="white"/>
                  </a:solidFill>
                </a:rPr>
                <a:t>67 / 176 / 42</a:t>
              </a:r>
              <a:endParaRPr lang="en-GB" sz="743" dirty="0">
                <a:solidFill>
                  <a:prstClr val="white"/>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Yellow</a:t>
              </a:r>
            </a:p>
            <a:p>
              <a:pPr algn="ctr" defTabSz="754380"/>
              <a:r>
                <a:rPr lang="en-GB" sz="743">
                  <a:solidFill>
                    <a:prstClr val="white"/>
                  </a:solidFill>
                </a:rPr>
                <a:t>234 / 170 / 0</a:t>
              </a:r>
              <a:endParaRPr lang="en-GB" sz="743" dirty="0">
                <a:solidFill>
                  <a:prstClr val="white"/>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Orange</a:t>
              </a:r>
            </a:p>
            <a:p>
              <a:pPr algn="ctr" defTabSz="754380"/>
              <a:r>
                <a:rPr lang="en-GB" sz="743" dirty="0">
                  <a:solidFill>
                    <a:prstClr val="white"/>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Red</a:t>
              </a:r>
            </a:p>
            <a:p>
              <a:pPr algn="ctr" defTabSz="754380"/>
              <a:r>
                <a:rPr lang="en-GB" sz="743">
                  <a:solidFill>
                    <a:prstClr val="white"/>
                  </a:solidFill>
                </a:rPr>
                <a:t>188 / 32 / 75</a:t>
              </a:r>
              <a:endParaRPr lang="en-GB" sz="743" dirty="0">
                <a:solidFill>
                  <a:prstClr val="white"/>
                </a:solidFill>
              </a:endParaRP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Pink</a:t>
              </a:r>
            </a:p>
            <a:p>
              <a:pPr algn="ctr" defTabSz="754380"/>
              <a:r>
                <a:rPr lang="en-GB" sz="743" dirty="0">
                  <a:solidFill>
                    <a:prstClr val="white"/>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KPMG Blue</a:t>
              </a:r>
            </a:p>
            <a:p>
              <a:pPr algn="ctr" defTabSz="754380"/>
              <a:r>
                <a:rPr lang="en-GB" sz="743">
                  <a:solidFill>
                    <a:prstClr val="white"/>
                  </a:solidFill>
                </a:rPr>
                <a:t>0 / 51 / 141</a:t>
              </a:r>
              <a:endParaRPr lang="en-GB" sz="743" dirty="0">
                <a:solidFill>
                  <a:prstClr val="white"/>
                </a:solidFill>
              </a:endParaRP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Medium Blue</a:t>
              </a:r>
            </a:p>
            <a:p>
              <a:pPr algn="ctr" defTabSz="754380"/>
              <a:r>
                <a:rPr lang="en-GB" sz="743" dirty="0">
                  <a:solidFill>
                    <a:prstClr val="white"/>
                  </a:solidFill>
                </a:rPr>
                <a:t>0 / 94 / 184</a:t>
              </a: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Blue</a:t>
              </a:r>
            </a:p>
            <a:p>
              <a:pPr algn="ctr" defTabSz="754380"/>
              <a:r>
                <a:rPr lang="en-GB" sz="743">
                  <a:solidFill>
                    <a:prstClr val="white"/>
                  </a:solidFill>
                </a:rPr>
                <a:t>0 / 145 / 218</a:t>
              </a:r>
              <a:endParaRPr lang="en-GB" sz="743" dirty="0">
                <a:solidFill>
                  <a:prstClr val="white"/>
                </a:solidFill>
              </a:endParaRP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Purple</a:t>
              </a:r>
            </a:p>
            <a:p>
              <a:pPr algn="ctr" defTabSz="754380"/>
              <a:r>
                <a:rPr lang="en-GB" sz="743">
                  <a:solidFill>
                    <a:prstClr val="white"/>
                  </a:solidFill>
                </a:rPr>
                <a:t>109 / 32 / 119</a:t>
              </a:r>
              <a:endParaRPr lang="en-GB" sz="743" dirty="0">
                <a:solidFill>
                  <a:prstClr val="white"/>
                </a:solidFill>
              </a:endParaRP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Green</a:t>
              </a:r>
            </a:p>
            <a:p>
              <a:pPr algn="ctr" defTabSz="754380"/>
              <a:r>
                <a:rPr lang="en-GB" sz="743">
                  <a:solidFill>
                    <a:prstClr val="white"/>
                  </a:solidFill>
                </a:rPr>
                <a:t>0 / 163 / 161</a:t>
              </a:r>
              <a:endParaRPr lang="en-GB" sz="743" dirty="0">
                <a:solidFill>
                  <a:prstClr val="white"/>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Green</a:t>
              </a:r>
            </a:p>
            <a:p>
              <a:pPr algn="ctr" defTabSz="754380"/>
              <a:r>
                <a:rPr lang="en-GB" sz="743" dirty="0">
                  <a:solidFill>
                    <a:prstClr val="white"/>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Yellow</a:t>
              </a:r>
            </a:p>
            <a:p>
              <a:pPr algn="ctr" defTabSz="754380"/>
              <a:r>
                <a:rPr lang="en-GB" sz="743">
                  <a:solidFill>
                    <a:prstClr val="white"/>
                  </a:solidFill>
                </a:rPr>
                <a:t>234 / 170 / 0</a:t>
              </a:r>
              <a:endParaRPr lang="en-GB" sz="743" dirty="0">
                <a:solidFill>
                  <a:prstClr val="white"/>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Pink</a:t>
              </a:r>
            </a:p>
            <a:p>
              <a:pPr algn="ctr" defTabSz="754380"/>
              <a:r>
                <a:rPr lang="en-GB" sz="743" dirty="0">
                  <a:solidFill>
                    <a:prstClr val="white"/>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Dark Brown</a:t>
              </a:r>
            </a:p>
            <a:p>
              <a:pPr algn="ctr" defTabSz="754380"/>
              <a:r>
                <a:rPr lang="en-GB" sz="743" dirty="0">
                  <a:solidFill>
                    <a:prstClr val="white"/>
                  </a:solidFill>
                </a:rPr>
                <a:t>117 / 63 / 25</a:t>
              </a: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Brown</a:t>
              </a:r>
            </a:p>
            <a:p>
              <a:pPr algn="ctr" defTabSz="754380"/>
              <a:r>
                <a:rPr lang="en-GB" sz="743" dirty="0">
                  <a:solidFill>
                    <a:prstClr val="white"/>
                  </a:solidFill>
                </a:rPr>
                <a:t>155 / 100 / 46</a:t>
              </a: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Beige</a:t>
              </a:r>
            </a:p>
            <a:p>
              <a:pPr algn="ctr" defTabSz="754380"/>
              <a:r>
                <a:rPr lang="en-GB" sz="743" dirty="0">
                  <a:solidFill>
                    <a:prstClr val="white"/>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Olive</a:t>
              </a:r>
            </a:p>
            <a:p>
              <a:pPr algn="ctr" defTabSz="754380"/>
              <a:r>
                <a:rPr lang="en-GB" sz="743" dirty="0">
                  <a:solidFill>
                    <a:prstClr val="white"/>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Pink</a:t>
              </a:r>
            </a:p>
            <a:p>
              <a:pPr algn="ctr" defTabSz="754380"/>
              <a:r>
                <a:rPr lang="en-GB" sz="743" dirty="0">
                  <a:solidFill>
                    <a:prstClr val="white"/>
                  </a:solidFill>
                </a:rPr>
                <a:t>227 / 104 / 119</a:t>
              </a: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pPr defTabSz="754380"/>
              <a:r>
                <a:rPr lang="en-GB" sz="825" b="1" dirty="0">
                  <a:solidFill>
                    <a:srgbClr val="00338D"/>
                  </a:solidFill>
                </a:rPr>
                <a:t>Colour order for graphs</a:t>
              </a:r>
            </a:p>
          </p:txBody>
        </p:sp>
      </p:grpSp>
    </p:spTree>
    <p:extLst>
      <p:ext uri="{BB962C8B-B14F-4D97-AF65-F5344CB8AC3E}">
        <p14:creationId xmlns:p14="http://schemas.microsoft.com/office/powerpoint/2010/main" val="33109105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16"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3" name="Text Placeholder 2"/>
          <p:cNvSpPr>
            <a:spLocks noGrp="1"/>
          </p:cNvSpPr>
          <p:nvPr>
            <p:ph type="body" sz="quarter" idx="11"/>
          </p:nvPr>
        </p:nvSpPr>
        <p:spPr>
          <a:xfrm>
            <a:off x="2251560" y="4771394"/>
            <a:ext cx="6477695" cy="643342"/>
          </a:xfrm>
        </p:spPr>
        <p:txBody>
          <a:bodyPr/>
          <a:lstStyle>
            <a:lvl1pPr>
              <a:buFontTx/>
              <a:buNone/>
              <a:defRPr sz="907" b="0">
                <a:solidFill>
                  <a:schemeClr val="bg1">
                    <a:lumMod val="65000"/>
                  </a:schemeClr>
                </a:solidFill>
              </a:defRPr>
            </a:lvl1pPr>
            <a:lvl2pPr>
              <a:buFontTx/>
              <a:buNone/>
              <a:defRPr sz="907"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a:p>
            <a:pPr lvl="1"/>
            <a:r>
              <a:rPr lang="en-US"/>
              <a:t>Second level</a:t>
            </a:r>
          </a:p>
        </p:txBody>
      </p:sp>
      <p:sp>
        <p:nvSpPr>
          <p:cNvPr id="14" name="Text Placeholder 2"/>
          <p:cNvSpPr>
            <a:spLocks noGrp="1"/>
          </p:cNvSpPr>
          <p:nvPr>
            <p:ph type="body" sz="quarter" idx="12"/>
          </p:nvPr>
        </p:nvSpPr>
        <p:spPr>
          <a:xfrm>
            <a:off x="2251560" y="5711031"/>
            <a:ext cx="6477695" cy="169277"/>
          </a:xfrm>
        </p:spPr>
        <p:txBody>
          <a:bodyPr>
            <a:noAutofit/>
          </a:bodyPr>
          <a:lstStyle>
            <a:lvl1pPr>
              <a:buFontTx/>
              <a:buNone/>
              <a:defRPr sz="907" b="0">
                <a:solidFill>
                  <a:schemeClr val="bg1">
                    <a:lumMod val="65000"/>
                  </a:schemeClr>
                </a:solidFill>
              </a:defRPr>
            </a:lvl1pPr>
            <a:lvl2pPr>
              <a:buFontTx/>
              <a:buNone/>
              <a:defRPr sz="743"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p:txBody>
      </p:sp>
      <p:sp>
        <p:nvSpPr>
          <p:cNvPr id="15" name="Text Placeholder 2"/>
          <p:cNvSpPr>
            <a:spLocks noGrp="1"/>
          </p:cNvSpPr>
          <p:nvPr>
            <p:ph type="body" sz="quarter" idx="13"/>
          </p:nvPr>
        </p:nvSpPr>
        <p:spPr>
          <a:xfrm>
            <a:off x="2251560" y="3831758"/>
            <a:ext cx="6477695" cy="643342"/>
          </a:xfrm>
        </p:spPr>
        <p:txBody>
          <a:bodyPr/>
          <a:lstStyle>
            <a:lvl1pPr>
              <a:buFontTx/>
              <a:buNone/>
              <a:defRPr sz="907" b="0">
                <a:solidFill>
                  <a:schemeClr val="bg1">
                    <a:lumMod val="65000"/>
                  </a:schemeClr>
                </a:solidFill>
              </a:defRPr>
            </a:lvl1pPr>
            <a:lvl2pPr>
              <a:buFontTx/>
              <a:buNone/>
              <a:defRPr sz="907"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a:p>
            <a:pPr lvl="1"/>
            <a:r>
              <a:rPr lang="en-US"/>
              <a:t>Second level</a:t>
            </a:r>
          </a:p>
        </p:txBody>
      </p:sp>
      <p:sp>
        <p:nvSpPr>
          <p:cNvPr id="23" name="Text Placeholder 2"/>
          <p:cNvSpPr>
            <a:spLocks noGrp="1"/>
          </p:cNvSpPr>
          <p:nvPr>
            <p:ph type="body" sz="quarter" idx="14"/>
          </p:nvPr>
        </p:nvSpPr>
        <p:spPr>
          <a:xfrm>
            <a:off x="2251559" y="3480007"/>
            <a:ext cx="1989684" cy="119064"/>
          </a:xfrm>
        </p:spPr>
        <p:txBody>
          <a:bodyPr/>
          <a:lstStyle>
            <a:lvl1pPr>
              <a:buFontTx/>
              <a:buNone/>
              <a:defRPr sz="990" b="1">
                <a:solidFill>
                  <a:schemeClr val="tx2"/>
                </a:solidFill>
              </a:defRPr>
            </a:lvl1pPr>
            <a:lvl2pPr>
              <a:buFontTx/>
              <a:buNone/>
              <a:defRPr sz="743"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p:txBody>
      </p:sp>
      <p:sp>
        <p:nvSpPr>
          <p:cNvPr id="24" name="Text Placeholder 2"/>
          <p:cNvSpPr>
            <a:spLocks noGrp="1"/>
          </p:cNvSpPr>
          <p:nvPr>
            <p:ph type="body" sz="quarter" idx="15"/>
          </p:nvPr>
        </p:nvSpPr>
        <p:spPr>
          <a:xfrm>
            <a:off x="4884413" y="3480007"/>
            <a:ext cx="1948046" cy="119064"/>
          </a:xfrm>
        </p:spPr>
        <p:txBody>
          <a:bodyPr/>
          <a:lstStyle>
            <a:lvl1pPr>
              <a:buFontTx/>
              <a:buNone/>
              <a:defRPr sz="990" b="1">
                <a:solidFill>
                  <a:schemeClr val="tx2"/>
                </a:solidFill>
              </a:defRPr>
            </a:lvl1pPr>
            <a:lvl2pPr>
              <a:buFontTx/>
              <a:buNone/>
              <a:defRPr sz="743"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84414" y="2974451"/>
            <a:ext cx="109385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51560" y="2974451"/>
            <a:ext cx="2082093" cy="384049"/>
          </a:xfrm>
          <a:prstGeom prst="rect">
            <a:avLst/>
          </a:prstGeom>
        </p:spPr>
      </p:pic>
      <p:sp>
        <p:nvSpPr>
          <p:cNvPr id="11" name="TextBox 10"/>
          <p:cNvSpPr txBox="1"/>
          <p:nvPr userDrawn="1"/>
        </p:nvSpPr>
        <p:spPr>
          <a:xfrm>
            <a:off x="2140333" y="6637578"/>
            <a:ext cx="5736797" cy="135362"/>
          </a:xfrm>
          <a:prstGeom prst="rect">
            <a:avLst/>
          </a:prstGeom>
          <a:noFill/>
        </p:spPr>
        <p:txBody>
          <a:bodyPr wrap="square" lIns="0" tIns="0" rIns="0" bIns="0" rtlCol="0">
            <a:noAutofit/>
          </a:bodyPr>
          <a:lstStyle/>
          <a:p>
            <a:pPr algn="ctr" defTabSz="754380">
              <a:defRPr/>
            </a:pPr>
            <a:r>
              <a:rPr lang="en-GB" sz="495" b="1" dirty="0">
                <a:solidFill>
                  <a:srgbClr val="000000"/>
                </a:solidFill>
              </a:rPr>
              <a:t>Document Classification: KPMG Confidential</a:t>
            </a:r>
          </a:p>
        </p:txBody>
      </p:sp>
    </p:spTree>
    <p:extLst>
      <p:ext uri="{BB962C8B-B14F-4D97-AF65-F5344CB8AC3E}">
        <p14:creationId xmlns:p14="http://schemas.microsoft.com/office/powerpoint/2010/main" val="18497133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ITLE SLIDE 1 - Right light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1"/>
            <a:ext cx="10058400" cy="6858000"/>
          </a:xfrm>
          <a:prstGeom prst="rect">
            <a:avLst/>
          </a:prstGeom>
        </p:spPr>
      </p:pic>
      <p:sp>
        <p:nvSpPr>
          <p:cNvPr id="8" name="Title 1"/>
          <p:cNvSpPr>
            <a:spLocks noGrp="1"/>
          </p:cNvSpPr>
          <p:nvPr>
            <p:ph type="ctrTitle" hasCustomPrompt="1"/>
          </p:nvPr>
        </p:nvSpPr>
        <p:spPr>
          <a:xfrm>
            <a:off x="809182" y="1435300"/>
            <a:ext cx="5429422" cy="3510000"/>
          </a:xfrm>
        </p:spPr>
        <p:txBody>
          <a:bodyPr anchor="t" anchorCtr="0"/>
          <a:lstStyle>
            <a:lvl1pPr algn="l">
              <a:defRPr sz="9075" baseline="0">
                <a:solidFill>
                  <a:schemeClr val="bg1"/>
                </a:solidFill>
              </a:defRPr>
            </a:lvl1pPr>
          </a:lstStyle>
          <a:p>
            <a:r>
              <a:rPr lang="en-GB" dirty="0"/>
              <a:t>Title slide 1</a:t>
            </a:r>
            <a:br>
              <a:rPr lang="en-GB" dirty="0"/>
            </a:br>
            <a:r>
              <a:rPr lang="en-GB" dirty="0"/>
              <a:t>light right vertical image</a:t>
            </a:r>
            <a:endParaRPr lang="en-US" dirty="0"/>
          </a:p>
        </p:txBody>
      </p:sp>
      <p:sp>
        <p:nvSpPr>
          <p:cNvPr id="16" name="Freeform 19"/>
          <p:cNvSpPr>
            <a:spLocks noChangeAspect="1" noEditPoints="1"/>
          </p:cNvSpPr>
          <p:nvPr userDrawn="1"/>
        </p:nvSpPr>
        <p:spPr bwMode="auto">
          <a:xfrm>
            <a:off x="825104"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841851" y="5390900"/>
            <a:ext cx="5396752"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2819879360"/>
      </p:ext>
    </p:extLst>
  </p:cSld>
  <p:clrMapOvr>
    <a:masterClrMapping/>
  </p:clrMapOvr>
  <p:extLst mod="1">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060686" cy="6858000"/>
          </a:xfrm>
          <a:prstGeom prst="rect">
            <a:avLst/>
          </a:prstGeom>
        </p:spPr>
      </p:pic>
      <p:sp>
        <p:nvSpPr>
          <p:cNvPr id="8" name="Title 1"/>
          <p:cNvSpPr>
            <a:spLocks noGrp="1"/>
          </p:cNvSpPr>
          <p:nvPr>
            <p:ph type="ctrTitle" hasCustomPrompt="1"/>
          </p:nvPr>
        </p:nvSpPr>
        <p:spPr>
          <a:xfrm>
            <a:off x="809182" y="1435300"/>
            <a:ext cx="5429422" cy="3510000"/>
          </a:xfrm>
        </p:spPr>
        <p:txBody>
          <a:bodyPr anchor="t" anchorCtr="0"/>
          <a:lstStyle>
            <a:lvl1pPr algn="l">
              <a:defRPr sz="9075" baseline="0">
                <a:solidFill>
                  <a:schemeClr val="bg1"/>
                </a:solidFill>
              </a:defRPr>
            </a:lvl1pPr>
          </a:lstStyle>
          <a:p>
            <a:r>
              <a:rPr lang="en-GB" dirty="0"/>
              <a:t>Title slide 2</a:t>
            </a:r>
            <a:br>
              <a:rPr lang="en-GB" dirty="0"/>
            </a:br>
            <a:r>
              <a:rPr lang="en-GB" dirty="0"/>
              <a:t>right dark vertical image</a:t>
            </a:r>
            <a:endParaRPr lang="en-US" dirty="0"/>
          </a:p>
        </p:txBody>
      </p:sp>
      <p:sp>
        <p:nvSpPr>
          <p:cNvPr id="16" name="Freeform 19"/>
          <p:cNvSpPr>
            <a:spLocks noChangeAspect="1" noEditPoints="1"/>
          </p:cNvSpPr>
          <p:nvPr userDrawn="1"/>
        </p:nvSpPr>
        <p:spPr bwMode="auto">
          <a:xfrm>
            <a:off x="825104"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841851" y="5390900"/>
            <a:ext cx="5396752"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2325937327"/>
      </p:ext>
    </p:extLst>
  </p:cSld>
  <p:clrMapOvr>
    <a:masterClrMapping/>
  </p:clrMapOvr>
  <p:extLst mod="1">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143" y="1"/>
            <a:ext cx="10058400" cy="6858000"/>
          </a:xfrm>
          <a:prstGeom prst="rect">
            <a:avLst/>
          </a:prstGeom>
        </p:spPr>
      </p:pic>
      <p:sp>
        <p:nvSpPr>
          <p:cNvPr id="8" name="Title 1"/>
          <p:cNvSpPr>
            <a:spLocks noGrp="1"/>
          </p:cNvSpPr>
          <p:nvPr>
            <p:ph type="ctrTitle" hasCustomPrompt="1"/>
          </p:nvPr>
        </p:nvSpPr>
        <p:spPr>
          <a:xfrm>
            <a:off x="3979150" y="1435300"/>
            <a:ext cx="5330397" cy="3510000"/>
          </a:xfrm>
        </p:spPr>
        <p:txBody>
          <a:bodyPr anchor="t" anchorCtr="0"/>
          <a:lstStyle>
            <a:lvl1pPr algn="l">
              <a:defRPr sz="9075" baseline="0">
                <a:solidFill>
                  <a:schemeClr val="bg1"/>
                </a:solidFill>
              </a:defRPr>
            </a:lvl1pPr>
          </a:lstStyle>
          <a:p>
            <a:r>
              <a:rPr lang="en-GB" dirty="0"/>
              <a:t>Title slide 3</a:t>
            </a:r>
            <a:br>
              <a:rPr lang="en-GB" dirty="0"/>
            </a:br>
            <a:r>
              <a:rPr lang="en-GB" dirty="0"/>
              <a:t>left light vertical image</a:t>
            </a:r>
            <a:endParaRPr lang="en-US" dirty="0"/>
          </a:p>
        </p:txBody>
      </p:sp>
      <p:sp>
        <p:nvSpPr>
          <p:cNvPr id="16" name="Freeform 19"/>
          <p:cNvSpPr>
            <a:spLocks noChangeAspect="1" noEditPoints="1"/>
          </p:cNvSpPr>
          <p:nvPr userDrawn="1"/>
        </p:nvSpPr>
        <p:spPr bwMode="auto">
          <a:xfrm>
            <a:off x="3995072"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4011819" y="5390900"/>
            <a:ext cx="5297018"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1868918022"/>
      </p:ext>
    </p:extLst>
  </p:cSld>
  <p:clrMapOvr>
    <a:masterClrMapping/>
  </p:clrMapOvr>
  <p:extLst mod="1">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0060686" cy="6858000"/>
          </a:xfrm>
          <a:prstGeom prst="rect">
            <a:avLst/>
          </a:prstGeom>
        </p:spPr>
      </p:pic>
      <p:sp>
        <p:nvSpPr>
          <p:cNvPr id="8" name="Title 1"/>
          <p:cNvSpPr>
            <a:spLocks noGrp="1"/>
          </p:cNvSpPr>
          <p:nvPr>
            <p:ph type="ctrTitle" hasCustomPrompt="1"/>
          </p:nvPr>
        </p:nvSpPr>
        <p:spPr>
          <a:xfrm>
            <a:off x="3206115" y="1435300"/>
            <a:ext cx="6033731" cy="3510000"/>
          </a:xfrm>
        </p:spPr>
        <p:txBody>
          <a:bodyPr anchor="t" anchorCtr="0"/>
          <a:lstStyle>
            <a:lvl1pPr algn="l">
              <a:defRPr sz="9075" baseline="0">
                <a:solidFill>
                  <a:schemeClr val="bg1"/>
                </a:solidFill>
              </a:defRPr>
            </a:lvl1pPr>
          </a:lstStyle>
          <a:p>
            <a:r>
              <a:rPr lang="en-GB" dirty="0"/>
              <a:t>Title slide 4</a:t>
            </a:r>
            <a:br>
              <a:rPr lang="en-GB" dirty="0"/>
            </a:br>
            <a:r>
              <a:rPr lang="en-GB" dirty="0"/>
              <a:t>left dark vertical image</a:t>
            </a:r>
            <a:endParaRPr lang="en-US" dirty="0"/>
          </a:p>
        </p:txBody>
      </p:sp>
      <p:sp>
        <p:nvSpPr>
          <p:cNvPr id="16" name="Freeform 19"/>
          <p:cNvSpPr>
            <a:spLocks noChangeAspect="1" noEditPoints="1"/>
          </p:cNvSpPr>
          <p:nvPr userDrawn="1"/>
        </p:nvSpPr>
        <p:spPr bwMode="auto">
          <a:xfrm>
            <a:off x="3222037"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7" name="Text Placeholder 3"/>
          <p:cNvSpPr>
            <a:spLocks noGrp="1"/>
          </p:cNvSpPr>
          <p:nvPr>
            <p:ph type="body" sz="quarter" idx="11"/>
          </p:nvPr>
        </p:nvSpPr>
        <p:spPr>
          <a:xfrm>
            <a:off x="3238784" y="5390900"/>
            <a:ext cx="5995947"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2566683085"/>
      </p:ext>
    </p:extLst>
  </p:cSld>
  <p:clrMapOvr>
    <a:masterClrMapping/>
  </p:clrMapOvr>
  <p:extLst mod="1">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86" y="1"/>
            <a:ext cx="10060686" cy="6858000"/>
          </a:xfrm>
          <a:prstGeom prst="rect">
            <a:avLst/>
          </a:prstGeom>
        </p:spPr>
      </p:pic>
      <p:sp>
        <p:nvSpPr>
          <p:cNvPr id="17"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8" name="Title 1"/>
          <p:cNvSpPr>
            <a:spLocks noGrp="1"/>
          </p:cNvSpPr>
          <p:nvPr>
            <p:ph type="ctrTitle" hasCustomPrompt="1"/>
          </p:nvPr>
        </p:nvSpPr>
        <p:spPr>
          <a:xfrm>
            <a:off x="2235637" y="1435300"/>
            <a:ext cx="5793767" cy="3510000"/>
          </a:xfrm>
        </p:spPr>
        <p:txBody>
          <a:bodyPr anchor="t" anchorCtr="0"/>
          <a:lstStyle>
            <a:lvl1pPr algn="l">
              <a:defRPr sz="9075"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16"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7" name="Text Placeholder 3"/>
          <p:cNvSpPr>
            <a:spLocks noGrp="1"/>
          </p:cNvSpPr>
          <p:nvPr>
            <p:ph type="body" sz="quarter" idx="11"/>
          </p:nvPr>
        </p:nvSpPr>
        <p:spPr>
          <a:xfrm>
            <a:off x="2268307" y="5390900"/>
            <a:ext cx="5761097"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608481108"/>
      </p:ext>
    </p:extLst>
  </p:cSld>
  <p:clrMapOvr>
    <a:masterClrMapping/>
  </p:clrMapOvr>
  <p:extLst mod="1">
    <p:ext uri="{DCECCB84-F9BA-43D5-87BE-67443E8EF086}">
      <p15:sldGuideLst xmlns:p15="http://schemas.microsoft.com/office/powerpoint/2012/main">
        <p15:guide id="1" pos="173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7"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8" name="Title 1"/>
          <p:cNvSpPr>
            <a:spLocks noGrp="1"/>
          </p:cNvSpPr>
          <p:nvPr>
            <p:ph type="ctrTitle" hasCustomPrompt="1"/>
          </p:nvPr>
        </p:nvSpPr>
        <p:spPr>
          <a:xfrm>
            <a:off x="2235637" y="1435300"/>
            <a:ext cx="7004209" cy="3510000"/>
          </a:xfrm>
        </p:spPr>
        <p:txBody>
          <a:bodyPr anchor="t" anchorCtr="0"/>
          <a:lstStyle>
            <a:lvl1pPr algn="l">
              <a:defRPr sz="9075" baseline="0">
                <a:solidFill>
                  <a:schemeClr val="bg1"/>
                </a:solidFill>
              </a:defRPr>
            </a:lvl1pPr>
          </a:lstStyle>
          <a:p>
            <a:r>
              <a:rPr lang="en-GB" dirty="0"/>
              <a:t>Title Slide 6 – </a:t>
            </a:r>
            <a:br>
              <a:rPr lang="en-GB" dirty="0"/>
            </a:br>
            <a:r>
              <a:rPr lang="en-GB" dirty="0"/>
              <a:t>no image</a:t>
            </a:r>
            <a:endParaRPr lang="en-US" dirty="0"/>
          </a:p>
        </p:txBody>
      </p:sp>
      <p:sp>
        <p:nvSpPr>
          <p:cNvPr id="10"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31999535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0" name="Text Placeholder 7"/>
          <p:cNvSpPr>
            <a:spLocks noGrp="1"/>
          </p:cNvSpPr>
          <p:nvPr>
            <p:ph type="body" sz="quarter" idx="11"/>
          </p:nvPr>
        </p:nvSpPr>
        <p:spPr>
          <a:xfrm>
            <a:off x="838200" y="1485900"/>
            <a:ext cx="8399463" cy="1461939"/>
          </a:xfrm>
          <a:prstGeom prst="rect">
            <a:avLst/>
          </a:prstGeom>
        </p:spPr>
        <p:txBody>
          <a:bodyPr vert="horz" lIns="0" tIns="0" rIns="0" bIns="0"/>
          <a:lstStyle>
            <a:lvl1pPr>
              <a:defRPr b="1" i="0">
                <a:solidFill>
                  <a:schemeClr val="tx2"/>
                </a:solidFill>
                <a:latin typeface="Univers for KPMG"/>
                <a:cs typeface="Univers for KPMG"/>
              </a:defRPr>
            </a:lvl1pPr>
            <a:lvl2pPr marL="0" indent="0">
              <a:buFontTx/>
              <a:buNone/>
              <a:defRPr>
                <a:solidFill>
                  <a:schemeClr val="tx2"/>
                </a:solidFill>
                <a:latin typeface="Univers for KPMG Light"/>
                <a:cs typeface="Univers for KPMG Light"/>
              </a:defRPr>
            </a:lvl2pPr>
            <a:lvl3pPr marL="285750" indent="-285750">
              <a:buFont typeface="Lucida Grande"/>
              <a:buChar char="—"/>
              <a:defRPr>
                <a:solidFill>
                  <a:schemeClr val="tx2"/>
                </a:solidFill>
                <a:latin typeface="Univers for KPMG Light"/>
                <a:cs typeface="Univers for KPMG Light"/>
              </a:defRPr>
            </a:lvl3pPr>
            <a:lvl4pPr marL="576072" indent="-228600">
              <a:buFont typeface="Lucida Grande"/>
              <a:buChar char="-"/>
              <a:defRPr>
                <a:solidFill>
                  <a:schemeClr val="tx2"/>
                </a:solidFill>
                <a:latin typeface="Univers for KPMG Light"/>
                <a:cs typeface="Univers for KPMG Light"/>
              </a:defRPr>
            </a:lvl4pPr>
            <a:lvl5pPr>
              <a:defRPr>
                <a:solidFill>
                  <a:schemeClr val="accent5"/>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70520447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599808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23680" y="1330126"/>
            <a:ext cx="841104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10429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1330126"/>
            <a:ext cx="40986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5132160" y="1330126"/>
            <a:ext cx="40986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66131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1330126"/>
            <a:ext cx="40986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5132160" y="1330126"/>
            <a:ext cx="4098600" cy="45468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24025595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5132160" y="1330126"/>
            <a:ext cx="4098600" cy="4546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827640" y="1330126"/>
            <a:ext cx="4098600" cy="45468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37138577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3742126"/>
            <a:ext cx="84110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827640" y="1331360"/>
            <a:ext cx="8411040" cy="213574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14616038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3754080" y="1331360"/>
            <a:ext cx="2589840" cy="2134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827640" y="1331360"/>
            <a:ext cx="2629440" cy="21348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827640" y="3742126"/>
            <a:ext cx="26294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6640920" y="1331360"/>
            <a:ext cx="2589840" cy="21348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3714480" y="3742126"/>
            <a:ext cx="26294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601320" y="3742126"/>
            <a:ext cx="26294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649824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827640" y="1330126"/>
            <a:ext cx="8411040" cy="4546800"/>
          </a:xfrm>
        </p:spPr>
        <p:txBody>
          <a:bodyPr anchor="ctr"/>
          <a:lstStyle>
            <a:lvl1pPr algn="ctr">
              <a:defRPr/>
            </a:lvl1pPr>
          </a:lstStyle>
          <a:p>
            <a:r>
              <a:rPr lang="en-US"/>
              <a:t>Click icon to add picture</a:t>
            </a:r>
            <a:endParaRPr lang="en-GB" dirty="0"/>
          </a:p>
        </p:txBody>
      </p:sp>
    </p:spTree>
    <p:extLst>
      <p:ext uri="{BB962C8B-B14F-4D97-AF65-F5344CB8AC3E}">
        <p14:creationId xmlns:p14="http://schemas.microsoft.com/office/powerpoint/2010/main" val="23756385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2"/>
            <a:ext cx="10058400" cy="5876925"/>
          </a:xfrm>
        </p:spPr>
        <p:txBody>
          <a:bodyPr anchor="ctr"/>
          <a:lstStyle>
            <a:lvl1pPr algn="ctr">
              <a:defRPr/>
            </a:lvl1pPr>
          </a:lstStyle>
          <a:p>
            <a:r>
              <a:rPr lang="en-US"/>
              <a:t>Click icon to add picture</a:t>
            </a:r>
            <a:endParaRPr lang="en-GB" dirty="0"/>
          </a:p>
        </p:txBody>
      </p:sp>
      <p:sp>
        <p:nvSpPr>
          <p:cNvPr id="6" name="Shape 8"/>
          <p:cNvSpPr txBox="1">
            <a:spLocks/>
          </p:cNvSpPr>
          <p:nvPr userDrawn="1"/>
        </p:nvSpPr>
        <p:spPr>
          <a:xfrm>
            <a:off x="8860037" y="6266997"/>
            <a:ext cx="3709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825" smtClean="0">
                <a:solidFill>
                  <a:srgbClr val="00338D"/>
                </a:solidFill>
                <a:cs typeface="Arial" panose="020B0604020202020204" pitchFamily="34" charset="0"/>
              </a:rPr>
              <a:pPr algn="r"/>
              <a:t>‹Nr.›</a:t>
            </a:fld>
            <a:endParaRPr lang="en-US" sz="825" dirty="0">
              <a:solidFill>
                <a:srgbClr val="00338D"/>
              </a:solidFill>
              <a:cs typeface="Arial" panose="020B0604020202020204" pitchFamily="34" charset="0"/>
            </a:endParaRPr>
          </a:p>
        </p:txBody>
      </p:sp>
      <p:sp>
        <p:nvSpPr>
          <p:cNvPr id="7" name="TextBox 6"/>
          <p:cNvSpPr txBox="1"/>
          <p:nvPr userDrawn="1"/>
        </p:nvSpPr>
        <p:spPr>
          <a:xfrm>
            <a:off x="1843821" y="6266997"/>
            <a:ext cx="6399360" cy="370800"/>
          </a:xfrm>
          <a:prstGeom prst="rect">
            <a:avLst/>
          </a:prstGeom>
          <a:noFill/>
        </p:spPr>
        <p:txBody>
          <a:bodyPr wrap="square" lIns="0" tIns="0" rIns="0" bIns="0" rtlCol="0">
            <a:noAutofit/>
          </a:bodyPr>
          <a:lstStyle/>
          <a:p>
            <a:pPr defTabSz="754380">
              <a:defRPr/>
            </a:pPr>
            <a:r>
              <a:rPr lang="en-GB" sz="495" dirty="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4173840" y="6637578"/>
            <a:ext cx="1861200" cy="109552"/>
          </a:xfrm>
          <a:prstGeom prst="rect">
            <a:avLst/>
          </a:prstGeom>
          <a:noFill/>
        </p:spPr>
        <p:txBody>
          <a:bodyPr wrap="square" lIns="0" tIns="0" rIns="0" bIns="0" rtlCol="0">
            <a:noAutofit/>
          </a:bodyPr>
          <a:lstStyle/>
          <a:p>
            <a:pPr algn="ctr" defTabSz="754380">
              <a:defRPr/>
            </a:pPr>
            <a:r>
              <a:rPr lang="en-GB" sz="495" b="1" dirty="0">
                <a:solidFill>
                  <a:srgbClr val="000000"/>
                </a:solidFill>
              </a:rPr>
              <a:t>Document Classification: KPMG Confidential</a:t>
            </a:r>
          </a:p>
        </p:txBody>
      </p:sp>
      <p:sp>
        <p:nvSpPr>
          <p:cNvPr id="9"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40802048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54133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25502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96871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827640" y="1322388"/>
            <a:ext cx="1548360" cy="604800"/>
          </a:xfrm>
          <a:prstGeom prst="homePlate">
            <a:avLst>
              <a:gd name="adj" fmla="val 31970"/>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54133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25502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96871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682400" y="1322388"/>
            <a:ext cx="154836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682400" y="2172526"/>
            <a:ext cx="1548360" cy="3704400"/>
          </a:xfrm>
        </p:spPr>
        <p:txBody>
          <a:bodyPr/>
          <a:lstStyle>
            <a:lvl1pPr algn="l">
              <a:defRPr sz="1155"/>
            </a:lvl1pPr>
            <a:lvl2pPr algn="l">
              <a:defRPr sz="1155"/>
            </a:lvl2pPr>
            <a:lvl3pPr algn="l">
              <a:defRPr sz="1155"/>
            </a:lvl3pPr>
            <a:lvl4pPr algn="l">
              <a:defRPr sz="1155"/>
            </a:lvl4pPr>
            <a:lvl5pPr algn="l">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81623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7"/>
          <p:cNvSpPr>
            <a:spLocks noGrp="1"/>
          </p:cNvSpPr>
          <p:nvPr>
            <p:ph type="body" sz="quarter" idx="11"/>
          </p:nvPr>
        </p:nvSpPr>
        <p:spPr>
          <a:xfrm>
            <a:off x="838200" y="1485900"/>
            <a:ext cx="4023360" cy="1461939"/>
          </a:xfrm>
          <a:prstGeom prst="rect">
            <a:avLst/>
          </a:prstGeom>
        </p:spPr>
        <p:txBody>
          <a:bodyPr vert="horz" lIns="0" tIns="0" rIns="0" bIns="0"/>
          <a:lstStyle>
            <a:lvl1pPr>
              <a:defRPr b="1" i="0">
                <a:solidFill>
                  <a:schemeClr val="tx2"/>
                </a:solidFill>
                <a:latin typeface="Univers for KPMG"/>
                <a:cs typeface="Univers for KPMG"/>
              </a:defRPr>
            </a:lvl1pPr>
            <a:lvl2pPr>
              <a:defRPr>
                <a:solidFill>
                  <a:schemeClr val="tx2"/>
                </a:solidFill>
                <a:latin typeface="Univers for KPMG Light"/>
                <a:cs typeface="Univers for KPMG Light"/>
              </a:defRPr>
            </a:lvl2pPr>
            <a:lvl3pPr>
              <a:defRPr>
                <a:solidFill>
                  <a:schemeClr val="tx2"/>
                </a:solidFill>
                <a:latin typeface="Univers for KPMG Light"/>
                <a:cs typeface="Univers for KPMG Light"/>
              </a:defRPr>
            </a:lvl3pPr>
            <a:lvl4pPr>
              <a:defRPr>
                <a:solidFill>
                  <a:schemeClr val="tx2"/>
                </a:solidFill>
                <a:latin typeface="Univers for KPMG Light"/>
                <a:cs typeface="Univers for KPMG Light"/>
              </a:defRPr>
            </a:lvl4pPr>
            <a:lvl5pPr>
              <a:defRPr>
                <a:solidFill>
                  <a:schemeClr val="accent5"/>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5" name="Text Placeholder 7"/>
          <p:cNvSpPr>
            <a:spLocks noGrp="1"/>
          </p:cNvSpPr>
          <p:nvPr>
            <p:ph type="body" sz="quarter" idx="12"/>
          </p:nvPr>
        </p:nvSpPr>
        <p:spPr>
          <a:xfrm>
            <a:off x="5213350" y="1485900"/>
            <a:ext cx="4024313" cy="1461939"/>
          </a:xfrm>
          <a:prstGeom prst="rect">
            <a:avLst/>
          </a:prstGeom>
        </p:spPr>
        <p:txBody>
          <a:bodyPr vert="horz" lIns="0" tIns="0" rIns="0" bIns="0"/>
          <a:lstStyle>
            <a:lvl1pPr>
              <a:defRPr b="1" i="0">
                <a:solidFill>
                  <a:schemeClr val="tx2"/>
                </a:solidFill>
                <a:latin typeface="Univers for KPMG"/>
                <a:cs typeface="Univers for KPMG"/>
              </a:defRPr>
            </a:lvl1pPr>
            <a:lvl2pPr>
              <a:defRPr>
                <a:solidFill>
                  <a:schemeClr val="tx2"/>
                </a:solidFill>
                <a:latin typeface="Univers for KPMG Light"/>
                <a:cs typeface="Univers for KPMG Light"/>
              </a:defRPr>
            </a:lvl2pPr>
            <a:lvl3pPr>
              <a:defRPr>
                <a:solidFill>
                  <a:schemeClr val="tx2"/>
                </a:solidFill>
                <a:latin typeface="Univers for KPMG Light"/>
                <a:cs typeface="Univers for KPMG Light"/>
              </a:defRPr>
            </a:lvl3pPr>
            <a:lvl4pPr>
              <a:defRPr>
                <a:solidFill>
                  <a:schemeClr val="tx2"/>
                </a:solidFill>
                <a:latin typeface="Univers for KPMG Light"/>
                <a:cs typeface="Univers for KPMG Light"/>
              </a:defRPr>
            </a:lvl4pPr>
            <a:lvl5pPr>
              <a:defRPr>
                <a:solidFill>
                  <a:schemeClr val="accent5"/>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96961476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98320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3876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94320" y="2172526"/>
            <a:ext cx="1936440" cy="3704400"/>
          </a:xfrm>
        </p:spPr>
        <p:txBody>
          <a:bodyPr/>
          <a:lstStyle>
            <a:lvl1pPr>
              <a:defRPr sz="1155"/>
            </a:lvl1pPr>
            <a:lvl2pPr>
              <a:defRPr sz="1155"/>
            </a:lvl2pPr>
            <a:lvl3pPr>
              <a:defRPr sz="1155"/>
            </a:lvl3pPr>
            <a:lvl4pPr>
              <a:defRPr sz="1155"/>
            </a:lvl4pPr>
            <a:lvl5pPr>
              <a:defRPr sz="11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820737" y="1322388"/>
            <a:ext cx="1936440" cy="604800"/>
          </a:xfrm>
          <a:prstGeom prst="homePlate">
            <a:avLst>
              <a:gd name="adj" fmla="val 31970"/>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978598" y="1322388"/>
            <a:ext cx="193644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36459" y="1322388"/>
            <a:ext cx="193644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94320" y="1322388"/>
            <a:ext cx="1936440" cy="604800"/>
          </a:xfrm>
          <a:prstGeom prst="chevron">
            <a:avLst>
              <a:gd name="adj" fmla="val 31101"/>
            </a:avLst>
          </a:prstGeom>
          <a:solidFill>
            <a:schemeClr val="tx2"/>
          </a:solidFill>
        </p:spPr>
        <p:txBody>
          <a:bodyPr lIns="54000" tIns="54000" rIns="54000" bIns="54000" anchor="ctr"/>
          <a:lstStyle>
            <a:lvl1pPr algn="l">
              <a:defRPr sz="1155">
                <a:solidFill>
                  <a:schemeClr val="bg1"/>
                </a:solidFill>
              </a:defRPr>
            </a:lvl1pPr>
            <a:lvl2pPr>
              <a:defRPr sz="1155">
                <a:solidFill>
                  <a:schemeClr val="bg1"/>
                </a:solidFill>
              </a:defRPr>
            </a:lvl2pPr>
            <a:lvl3pPr>
              <a:defRPr sz="1155">
                <a:solidFill>
                  <a:schemeClr val="bg1"/>
                </a:solidFill>
              </a:defRPr>
            </a:lvl3pPr>
            <a:lvl4pPr>
              <a:defRPr sz="1155">
                <a:solidFill>
                  <a:schemeClr val="bg1"/>
                </a:solidFill>
              </a:defRPr>
            </a:lvl4pPr>
            <a:lvl5pPr>
              <a:defRPr sz="1155">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24379711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4377912" y="2757950"/>
            <a:ext cx="1370321" cy="1659600"/>
          </a:xfrm>
          <a:prstGeom prst="ellipse">
            <a:avLst/>
          </a:prstGeom>
          <a:solidFill>
            <a:schemeClr val="accent1"/>
          </a:solidFill>
          <a:ln>
            <a:noFill/>
          </a:ln>
        </p:spPr>
        <p:txBody>
          <a:bodyPr lIns="54000" tIns="54000" rIns="54000" bIns="54000" anchor="ctr" anchorCtr="1">
            <a:noAutofit/>
          </a:bodyPr>
          <a:lstStyle>
            <a:lvl1pPr algn="ctr">
              <a:defRPr sz="1155">
                <a:solidFill>
                  <a:schemeClr val="bg1"/>
                </a:solidFill>
                <a:latin typeface="+mn-lt"/>
                <a:cs typeface="Arial" panose="020B0604020202020204" pitchFamily="34" charset="0"/>
              </a:defRPr>
            </a:lvl1pPr>
          </a:lstStyle>
          <a:p>
            <a:pPr lvl="0"/>
            <a:r>
              <a:rPr lang="en-US"/>
              <a:t>Edit Master text styles</a:t>
            </a:r>
          </a:p>
        </p:txBody>
      </p:sp>
      <p:sp>
        <p:nvSpPr>
          <p:cNvPr id="17" name="Text Placeholder 20"/>
          <p:cNvSpPr>
            <a:spLocks noGrp="1"/>
          </p:cNvSpPr>
          <p:nvPr>
            <p:ph type="body" sz="quarter" idx="26"/>
          </p:nvPr>
        </p:nvSpPr>
        <p:spPr bwMode="gray">
          <a:xfrm>
            <a:off x="827762" y="1322388"/>
            <a:ext cx="3174348"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155"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6" name="Text Placeholder 20"/>
          <p:cNvSpPr>
            <a:spLocks noGrp="1"/>
          </p:cNvSpPr>
          <p:nvPr>
            <p:ph type="body" sz="quarter" idx="48"/>
          </p:nvPr>
        </p:nvSpPr>
        <p:spPr bwMode="gray">
          <a:xfrm>
            <a:off x="827762" y="4015250"/>
            <a:ext cx="3174348"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99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7" name="Text Placeholder 20"/>
          <p:cNvSpPr>
            <a:spLocks noGrp="1"/>
          </p:cNvSpPr>
          <p:nvPr>
            <p:ph type="body" sz="quarter" idx="50"/>
          </p:nvPr>
        </p:nvSpPr>
        <p:spPr bwMode="gray">
          <a:xfrm>
            <a:off x="6058801" y="1322388"/>
            <a:ext cx="3174348"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155"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8" name="Text Placeholder 20"/>
          <p:cNvSpPr>
            <a:spLocks noGrp="1"/>
          </p:cNvSpPr>
          <p:nvPr>
            <p:ph type="body" sz="quarter" idx="52"/>
          </p:nvPr>
        </p:nvSpPr>
        <p:spPr bwMode="gray">
          <a:xfrm>
            <a:off x="6058801" y="4015250"/>
            <a:ext cx="3174348"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155"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754380" rtl="0" eaLnBrk="1" latinLnBrk="0" hangingPunct="1">
              <a:lnSpc>
                <a:spcPct val="100000"/>
              </a:lnSpc>
              <a:spcBef>
                <a:spcPts val="495"/>
              </a:spcBef>
              <a:buFont typeface="Arial" pitchFamily="34" charset="0"/>
              <a:buNone/>
            </a:pPr>
            <a:r>
              <a:rPr lang="en-US"/>
              <a:t>Edit Master text styles</a:t>
            </a:r>
          </a:p>
        </p:txBody>
      </p:sp>
      <p:sp>
        <p:nvSpPr>
          <p:cNvPr id="29" name="AutoShape 20"/>
          <p:cNvSpPr>
            <a:spLocks noChangeArrowheads="1"/>
          </p:cNvSpPr>
          <p:nvPr userDrawn="1"/>
        </p:nvSpPr>
        <p:spPr bwMode="gray">
          <a:xfrm rot="2700000">
            <a:off x="4164667" y="2512524"/>
            <a:ext cx="382279" cy="414761"/>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
        <p:nvSpPr>
          <p:cNvPr id="31" name="Text Placeholder 3"/>
          <p:cNvSpPr>
            <a:spLocks noGrp="1"/>
          </p:cNvSpPr>
          <p:nvPr>
            <p:ph type="body" sz="quarter" idx="53"/>
          </p:nvPr>
        </p:nvSpPr>
        <p:spPr>
          <a:xfrm>
            <a:off x="827761" y="1718873"/>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827761" y="4404050"/>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6057228" y="1718873"/>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6057228" y="4404050"/>
            <a:ext cx="3175920" cy="1472876"/>
          </a:xfrm>
          <a:ln w="12700">
            <a:solidFill>
              <a:schemeClr val="tx2"/>
            </a:solidFill>
          </a:ln>
        </p:spPr>
        <p:txBody>
          <a:bodyPr lIns="54000" tIns="54000" rIns="54000" bIns="54000">
            <a:noAutofit/>
          </a:bodyPr>
          <a:lstStyle>
            <a:lvl1pPr>
              <a:defRPr sz="1155">
                <a:latin typeface="+mn-lt"/>
              </a:defRPr>
            </a:lvl1pPr>
            <a:lvl2pPr>
              <a:defRPr sz="1155">
                <a:latin typeface="+mn-lt"/>
              </a:defRPr>
            </a:lvl2pPr>
            <a:lvl3pPr>
              <a:defRPr sz="1155">
                <a:latin typeface="+mn-lt"/>
              </a:defRPr>
            </a:lvl3pPr>
            <a:lvl4pPr>
              <a:defRPr sz="1155">
                <a:latin typeface="+mn-lt"/>
              </a:defRPr>
            </a:lvl4pPr>
            <a:lvl5pPr>
              <a:defRPr sz="1155">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5562957" y="2468534"/>
            <a:ext cx="315380"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
        <p:nvSpPr>
          <p:cNvPr id="21" name="AutoShape 20"/>
          <p:cNvSpPr>
            <a:spLocks noChangeArrowheads="1"/>
          </p:cNvSpPr>
          <p:nvPr userDrawn="1"/>
        </p:nvSpPr>
        <p:spPr bwMode="gray">
          <a:xfrm rot="18900000" flipV="1">
            <a:off x="4198115" y="4310034"/>
            <a:ext cx="315380"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
        <p:nvSpPr>
          <p:cNvPr id="22" name="AutoShape 20"/>
          <p:cNvSpPr>
            <a:spLocks noChangeArrowheads="1"/>
          </p:cNvSpPr>
          <p:nvPr userDrawn="1"/>
        </p:nvSpPr>
        <p:spPr bwMode="gray">
          <a:xfrm rot="2700000" flipH="1" flipV="1">
            <a:off x="5529507" y="4354024"/>
            <a:ext cx="382279" cy="414761"/>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pPr defTabSz="754380"/>
            <a:endParaRPr lang="en-CA" sz="990" dirty="0">
              <a:solidFill>
                <a:srgbClr val="483698"/>
              </a:solidFill>
            </a:endParaRPr>
          </a:p>
        </p:txBody>
      </p:sp>
    </p:spTree>
    <p:extLst>
      <p:ext uri="{BB962C8B-B14F-4D97-AF65-F5344CB8AC3E}">
        <p14:creationId xmlns:p14="http://schemas.microsoft.com/office/powerpoint/2010/main" val="6468289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827640" y="1708150"/>
            <a:ext cx="4098600" cy="4168775"/>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82764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16" name="Text Placeholder 8"/>
          <p:cNvSpPr>
            <a:spLocks noGrp="1"/>
          </p:cNvSpPr>
          <p:nvPr>
            <p:ph type="body" sz="quarter" idx="21"/>
          </p:nvPr>
        </p:nvSpPr>
        <p:spPr>
          <a:xfrm>
            <a:off x="5132160" y="1708150"/>
            <a:ext cx="4098600" cy="4168775"/>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513216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Tree>
    <p:extLst>
      <p:ext uri="{BB962C8B-B14F-4D97-AF65-F5344CB8AC3E}">
        <p14:creationId xmlns:p14="http://schemas.microsoft.com/office/powerpoint/2010/main" val="10777502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827640" y="1708150"/>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82764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15" name="Text Placeholder 8"/>
          <p:cNvSpPr>
            <a:spLocks noGrp="1"/>
          </p:cNvSpPr>
          <p:nvPr>
            <p:ph type="body" sz="quarter" idx="21"/>
          </p:nvPr>
        </p:nvSpPr>
        <p:spPr>
          <a:xfrm>
            <a:off x="5132160" y="1708150"/>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5132160" y="1322388"/>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21" name="Text Placeholder 8"/>
          <p:cNvSpPr>
            <a:spLocks noGrp="1"/>
          </p:cNvSpPr>
          <p:nvPr>
            <p:ph type="body" sz="quarter" idx="23"/>
          </p:nvPr>
        </p:nvSpPr>
        <p:spPr>
          <a:xfrm>
            <a:off x="827640" y="4117976"/>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827640" y="3741920"/>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
        <p:nvSpPr>
          <p:cNvPr id="23" name="Text Placeholder 8"/>
          <p:cNvSpPr>
            <a:spLocks noGrp="1"/>
          </p:cNvSpPr>
          <p:nvPr>
            <p:ph type="body" sz="quarter" idx="25"/>
          </p:nvPr>
        </p:nvSpPr>
        <p:spPr>
          <a:xfrm>
            <a:off x="5132160" y="4117976"/>
            <a:ext cx="4098600" cy="1758950"/>
          </a:xfrm>
          <a:ln w="12700">
            <a:solidFill>
              <a:schemeClr val="tx2"/>
            </a:solidFill>
          </a:ln>
        </p:spPr>
        <p:txBody>
          <a:bodyPr lIns="54000" tIns="54000" rIns="54000" bIns="54000"/>
          <a:lstStyle>
            <a:lvl1pPr>
              <a:defRPr sz="1238"/>
            </a:lvl1pPr>
            <a:lvl2pPr>
              <a:defRPr sz="1238"/>
            </a:lvl2pPr>
            <a:lvl3pPr>
              <a:defRPr sz="1238"/>
            </a:lvl3pPr>
            <a:lvl4pPr>
              <a:defRPr sz="1238"/>
            </a:lvl4pPr>
            <a:lvl5pPr>
              <a:defRPr sz="123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5132160" y="3741920"/>
            <a:ext cx="4098600" cy="388800"/>
          </a:xfrm>
          <a:solidFill>
            <a:schemeClr val="tx2"/>
          </a:solidFill>
          <a:ln w="12700">
            <a:solidFill>
              <a:schemeClr val="tx2"/>
            </a:solidFill>
          </a:ln>
        </p:spPr>
        <p:txBody>
          <a:bodyPr lIns="54000" tIns="54000" rIns="54000" bIns="54000" anchor="ctr"/>
          <a:lstStyle>
            <a:lvl1pPr>
              <a:defRPr sz="1238">
                <a:solidFill>
                  <a:schemeClr val="bg1"/>
                </a:solidFill>
              </a:defRPr>
            </a:lvl1pPr>
            <a:lvl2pPr>
              <a:defRPr sz="1155"/>
            </a:lvl2pPr>
            <a:lvl3pPr>
              <a:defRPr sz="1155"/>
            </a:lvl3pPr>
            <a:lvl4pPr>
              <a:defRPr sz="1155"/>
            </a:lvl4pPr>
            <a:lvl5pPr>
              <a:defRPr sz="1155"/>
            </a:lvl5pPr>
          </a:lstStyle>
          <a:p>
            <a:pPr lvl="0"/>
            <a:r>
              <a:rPr lang="en-US"/>
              <a:t>Edit Master text styles</a:t>
            </a:r>
          </a:p>
        </p:txBody>
      </p:sp>
    </p:spTree>
    <p:extLst>
      <p:ext uri="{BB962C8B-B14F-4D97-AF65-F5344CB8AC3E}">
        <p14:creationId xmlns:p14="http://schemas.microsoft.com/office/powerpoint/2010/main" val="25199215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8624" t="16167" r="19535" b="11976"/>
          <a:stretch/>
        </p:blipFill>
        <p:spPr>
          <a:xfrm>
            <a:off x="0" y="0"/>
            <a:ext cx="10058400" cy="6858000"/>
          </a:xfrm>
          <a:prstGeom prst="rect">
            <a:avLst/>
          </a:prstGeom>
        </p:spPr>
      </p:pic>
      <p:sp>
        <p:nvSpPr>
          <p:cNvPr id="5"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30233859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38878293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3904088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11881199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235637" y="1435300"/>
            <a:ext cx="7004209" cy="3510000"/>
          </a:xfrm>
        </p:spPr>
        <p:txBody>
          <a:bodyPr anchor="t" anchorCtr="0"/>
          <a:lstStyle>
            <a:lvl1pPr algn="l">
              <a:defRPr sz="9075"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pPr defTabSz="754380"/>
            <a:endParaRPr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18611898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grpSp>
        <p:nvGrpSpPr>
          <p:cNvPr id="4" name="Group 41"/>
          <p:cNvGrpSpPr>
            <a:grpSpLocks noChangeAspect="1"/>
          </p:cNvGrpSpPr>
          <p:nvPr userDrawn="1"/>
        </p:nvGrpSpPr>
        <p:grpSpPr bwMode="auto">
          <a:xfrm>
            <a:off x="4422307" y="1930400"/>
            <a:ext cx="1070486" cy="4041775"/>
            <a:chOff x="3518" y="1159"/>
            <a:chExt cx="644" cy="2006"/>
          </a:xfrm>
        </p:grpSpPr>
        <p:sp>
          <p:nvSpPr>
            <p:cNvPr id="5" name="Freeform 42"/>
            <p:cNvSpPr>
              <a:spLocks/>
            </p:cNvSpPr>
            <p:nvPr/>
          </p:nvSpPr>
          <p:spPr bwMode="auto">
            <a:xfrm>
              <a:off x="3713" y="1166"/>
              <a:ext cx="247"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 name="Freeform 43"/>
            <p:cNvSpPr>
              <a:spLocks/>
            </p:cNvSpPr>
            <p:nvPr/>
          </p:nvSpPr>
          <p:spPr bwMode="auto">
            <a:xfrm>
              <a:off x="3853" y="3037"/>
              <a:ext cx="116"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7" name="Freeform 44"/>
            <p:cNvSpPr>
              <a:spLocks/>
            </p:cNvSpPr>
            <p:nvPr/>
          </p:nvSpPr>
          <p:spPr bwMode="auto">
            <a:xfrm>
              <a:off x="3729"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8" name="Freeform 45"/>
            <p:cNvSpPr>
              <a:spLocks/>
            </p:cNvSpPr>
            <p:nvPr/>
          </p:nvSpPr>
          <p:spPr bwMode="auto">
            <a:xfrm>
              <a:off x="3647" y="1442"/>
              <a:ext cx="368"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9" name="Freeform 46"/>
            <p:cNvSpPr>
              <a:spLocks/>
            </p:cNvSpPr>
            <p:nvPr/>
          </p:nvSpPr>
          <p:spPr bwMode="auto">
            <a:xfrm>
              <a:off x="3784" y="1442"/>
              <a:ext cx="114"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0" name="Freeform 47"/>
            <p:cNvSpPr>
              <a:spLocks/>
            </p:cNvSpPr>
            <p:nvPr/>
          </p:nvSpPr>
          <p:spPr bwMode="auto">
            <a:xfrm>
              <a:off x="3722" y="1184"/>
              <a:ext cx="238"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1" name="Freeform 48"/>
            <p:cNvSpPr>
              <a:spLocks/>
            </p:cNvSpPr>
            <p:nvPr/>
          </p:nvSpPr>
          <p:spPr bwMode="auto">
            <a:xfrm>
              <a:off x="3702" y="1159"/>
              <a:ext cx="272"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2" name="Freeform 49"/>
            <p:cNvSpPr>
              <a:spLocks/>
            </p:cNvSpPr>
            <p:nvPr/>
          </p:nvSpPr>
          <p:spPr bwMode="auto">
            <a:xfrm>
              <a:off x="3656"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3" name="Freeform 50"/>
            <p:cNvSpPr>
              <a:spLocks/>
            </p:cNvSpPr>
            <p:nvPr/>
          </p:nvSpPr>
          <p:spPr bwMode="auto">
            <a:xfrm>
              <a:off x="3875" y="1546"/>
              <a:ext cx="145"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4" name="Freeform 51"/>
            <p:cNvSpPr>
              <a:spLocks/>
            </p:cNvSpPr>
            <p:nvPr/>
          </p:nvSpPr>
          <p:spPr bwMode="auto">
            <a:xfrm>
              <a:off x="3951" y="1541"/>
              <a:ext cx="158" cy="249"/>
            </a:xfrm>
            <a:custGeom>
              <a:avLst/>
              <a:gdLst>
                <a:gd name="T0" fmla="*/ 41 w 89"/>
                <a:gd name="T1" fmla="*/ 20 h 141"/>
                <a:gd name="T2" fmla="*/ 89 w 89"/>
                <a:gd name="T3" fmla="*/ 104 h 141"/>
                <a:gd name="T4" fmla="*/ 53 w 89"/>
                <a:gd name="T5" fmla="*/ 141 h 141"/>
                <a:gd name="T6" fmla="*/ 20 w 89"/>
                <a:gd name="T7" fmla="*/ 100 h 141"/>
                <a:gd name="T8" fmla="*/ 41 w 89"/>
                <a:gd name="T9" fmla="*/ 20 h 141"/>
              </a:gdLst>
              <a:ahLst/>
              <a:cxnLst>
                <a:cxn ang="0">
                  <a:pos x="T0" y="T1"/>
                </a:cxn>
                <a:cxn ang="0">
                  <a:pos x="T2" y="T3"/>
                </a:cxn>
                <a:cxn ang="0">
                  <a:pos x="T4" y="T5"/>
                </a:cxn>
                <a:cxn ang="0">
                  <a:pos x="T6" y="T7"/>
                </a:cxn>
                <a:cxn ang="0">
                  <a:pos x="T8" y="T9"/>
                </a:cxn>
              </a:cxnLst>
              <a:rect l="0" t="0" r="r" b="b"/>
              <a:pathLst>
                <a:path w="89" h="141">
                  <a:moveTo>
                    <a:pt x="41" y="20"/>
                  </a:moveTo>
                  <a:cubicBezTo>
                    <a:pt x="89" y="104"/>
                    <a:pt x="89" y="104"/>
                    <a:pt x="89" y="104"/>
                  </a:cubicBezTo>
                  <a:cubicBezTo>
                    <a:pt x="53" y="141"/>
                    <a:pt x="53" y="141"/>
                    <a:pt x="53" y="141"/>
                  </a:cubicBezTo>
                  <a:cubicBezTo>
                    <a:pt x="20" y="100"/>
                    <a:pt x="20" y="100"/>
                    <a:pt x="20" y="100"/>
                  </a:cubicBezTo>
                  <a:cubicBezTo>
                    <a:pt x="0" y="74"/>
                    <a:pt x="26" y="0"/>
                    <a:pt x="41" y="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5" name="Freeform 52"/>
            <p:cNvSpPr>
              <a:spLocks/>
            </p:cNvSpPr>
            <p:nvPr/>
          </p:nvSpPr>
          <p:spPr bwMode="auto">
            <a:xfrm>
              <a:off x="383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6" name="Freeform 53"/>
            <p:cNvSpPr>
              <a:spLocks/>
            </p:cNvSpPr>
            <p:nvPr/>
          </p:nvSpPr>
          <p:spPr bwMode="auto">
            <a:xfrm>
              <a:off x="3649" y="1995"/>
              <a:ext cx="219"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7" name="Freeform 54"/>
            <p:cNvSpPr>
              <a:spLocks/>
            </p:cNvSpPr>
            <p:nvPr/>
          </p:nvSpPr>
          <p:spPr bwMode="auto">
            <a:xfrm>
              <a:off x="3898" y="1728"/>
              <a:ext cx="264" cy="361"/>
            </a:xfrm>
            <a:custGeom>
              <a:avLst/>
              <a:gdLst>
                <a:gd name="T0" fmla="*/ 117 w 149"/>
                <a:gd name="T1" fmla="*/ 0 h 204"/>
                <a:gd name="T2" fmla="*/ 141 w 149"/>
                <a:gd name="T3" fmla="*/ 38 h 204"/>
                <a:gd name="T4" fmla="*/ 144 w 149"/>
                <a:gd name="T5" fmla="*/ 64 h 204"/>
                <a:gd name="T6" fmla="*/ 118 w 149"/>
                <a:gd name="T7" fmla="*/ 112 h 204"/>
                <a:gd name="T8" fmla="*/ 89 w 149"/>
                <a:gd name="T9" fmla="*/ 150 h 204"/>
                <a:gd name="T10" fmla="*/ 78 w 149"/>
                <a:gd name="T11" fmla="*/ 169 h 204"/>
                <a:gd name="T12" fmla="*/ 58 w 149"/>
                <a:gd name="T13" fmla="*/ 186 h 204"/>
                <a:gd name="T14" fmla="*/ 43 w 149"/>
                <a:gd name="T15" fmla="*/ 199 h 204"/>
                <a:gd name="T16" fmla="*/ 36 w 149"/>
                <a:gd name="T17" fmla="*/ 200 h 204"/>
                <a:gd name="T18" fmla="*/ 40 w 149"/>
                <a:gd name="T19" fmla="*/ 194 h 204"/>
                <a:gd name="T20" fmla="*/ 47 w 149"/>
                <a:gd name="T21" fmla="*/ 184 h 204"/>
                <a:gd name="T22" fmla="*/ 47 w 149"/>
                <a:gd name="T23" fmla="*/ 183 h 204"/>
                <a:gd name="T24" fmla="*/ 28 w 149"/>
                <a:gd name="T25" fmla="*/ 198 h 204"/>
                <a:gd name="T26" fmla="*/ 22 w 149"/>
                <a:gd name="T27" fmla="*/ 193 h 204"/>
                <a:gd name="T28" fmla="*/ 41 w 149"/>
                <a:gd name="T29" fmla="*/ 176 h 204"/>
                <a:gd name="T30" fmla="*/ 41 w 149"/>
                <a:gd name="T31" fmla="*/ 173 h 204"/>
                <a:gd name="T32" fmla="*/ 17 w 149"/>
                <a:gd name="T33" fmla="*/ 191 h 204"/>
                <a:gd name="T34" fmla="*/ 11 w 149"/>
                <a:gd name="T35" fmla="*/ 184 h 204"/>
                <a:gd name="T36" fmla="*/ 33 w 149"/>
                <a:gd name="T37" fmla="*/ 166 h 204"/>
                <a:gd name="T38" fmla="*/ 32 w 149"/>
                <a:gd name="T39" fmla="*/ 164 h 204"/>
                <a:gd name="T40" fmla="*/ 18 w 149"/>
                <a:gd name="T41" fmla="*/ 173 h 204"/>
                <a:gd name="T42" fmla="*/ 9 w 149"/>
                <a:gd name="T43" fmla="*/ 180 h 204"/>
                <a:gd name="T44" fmla="*/ 5 w 149"/>
                <a:gd name="T45" fmla="*/ 172 h 204"/>
                <a:gd name="T46" fmla="*/ 22 w 149"/>
                <a:gd name="T47" fmla="*/ 159 h 204"/>
                <a:gd name="T48" fmla="*/ 45 w 149"/>
                <a:gd name="T49" fmla="*/ 143 h 204"/>
                <a:gd name="T50" fmla="*/ 44 w 149"/>
                <a:gd name="T51" fmla="*/ 137 h 204"/>
                <a:gd name="T52" fmla="*/ 60 w 149"/>
                <a:gd name="T53" fmla="*/ 134 h 204"/>
                <a:gd name="T54" fmla="*/ 75 w 149"/>
                <a:gd name="T55" fmla="*/ 126 h 204"/>
                <a:gd name="T56" fmla="*/ 104 w 149"/>
                <a:gd name="T57" fmla="*/ 58 h 204"/>
                <a:gd name="T58" fmla="*/ 87 w 149"/>
                <a:gd name="T59" fmla="*/ 31 h 204"/>
                <a:gd name="T60" fmla="*/ 117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117" y="0"/>
                  </a:moveTo>
                  <a:cubicBezTo>
                    <a:pt x="141" y="38"/>
                    <a:pt x="141" y="38"/>
                    <a:pt x="141" y="38"/>
                  </a:cubicBezTo>
                  <a:cubicBezTo>
                    <a:pt x="149" y="50"/>
                    <a:pt x="148" y="53"/>
                    <a:pt x="144" y="64"/>
                  </a:cubicBezTo>
                  <a:cubicBezTo>
                    <a:pt x="137" y="83"/>
                    <a:pt x="130" y="95"/>
                    <a:pt x="118" y="112"/>
                  </a:cubicBezTo>
                  <a:cubicBezTo>
                    <a:pt x="105" y="131"/>
                    <a:pt x="103" y="125"/>
                    <a:pt x="89" y="150"/>
                  </a:cubicBezTo>
                  <a:cubicBezTo>
                    <a:pt x="83" y="160"/>
                    <a:pt x="82" y="165"/>
                    <a:pt x="78" y="169"/>
                  </a:cubicBezTo>
                  <a:cubicBezTo>
                    <a:pt x="71" y="176"/>
                    <a:pt x="65" y="180"/>
                    <a:pt x="58" y="186"/>
                  </a:cubicBezTo>
                  <a:cubicBezTo>
                    <a:pt x="54" y="189"/>
                    <a:pt x="49" y="193"/>
                    <a:pt x="43" y="199"/>
                  </a:cubicBezTo>
                  <a:cubicBezTo>
                    <a:pt x="40" y="202"/>
                    <a:pt x="38" y="201"/>
                    <a:pt x="36" y="200"/>
                  </a:cubicBezTo>
                  <a:cubicBezTo>
                    <a:pt x="35" y="199"/>
                    <a:pt x="36" y="199"/>
                    <a:pt x="40" y="194"/>
                  </a:cubicBezTo>
                  <a:cubicBezTo>
                    <a:pt x="47" y="184"/>
                    <a:pt x="47" y="184"/>
                    <a:pt x="47" y="184"/>
                  </a:cubicBezTo>
                  <a:cubicBezTo>
                    <a:pt x="51" y="180"/>
                    <a:pt x="52" y="179"/>
                    <a:pt x="47" y="183"/>
                  </a:cubicBezTo>
                  <a:cubicBezTo>
                    <a:pt x="40" y="188"/>
                    <a:pt x="35" y="192"/>
                    <a:pt x="28" y="198"/>
                  </a:cubicBezTo>
                  <a:cubicBezTo>
                    <a:pt x="22" y="204"/>
                    <a:pt x="17" y="199"/>
                    <a:pt x="22" y="193"/>
                  </a:cubicBezTo>
                  <a:cubicBezTo>
                    <a:pt x="41" y="176"/>
                    <a:pt x="41" y="176"/>
                    <a:pt x="41" y="176"/>
                  </a:cubicBezTo>
                  <a:cubicBezTo>
                    <a:pt x="44" y="172"/>
                    <a:pt x="44" y="171"/>
                    <a:pt x="41" y="173"/>
                  </a:cubicBezTo>
                  <a:cubicBezTo>
                    <a:pt x="33" y="180"/>
                    <a:pt x="24" y="184"/>
                    <a:pt x="17" y="191"/>
                  </a:cubicBezTo>
                  <a:cubicBezTo>
                    <a:pt x="8" y="196"/>
                    <a:pt x="5" y="189"/>
                    <a:pt x="11" y="184"/>
                  </a:cubicBezTo>
                  <a:cubicBezTo>
                    <a:pt x="13" y="182"/>
                    <a:pt x="26" y="171"/>
                    <a:pt x="33" y="166"/>
                  </a:cubicBezTo>
                  <a:cubicBezTo>
                    <a:pt x="40" y="161"/>
                    <a:pt x="35" y="162"/>
                    <a:pt x="32" y="164"/>
                  </a:cubicBezTo>
                  <a:cubicBezTo>
                    <a:pt x="27" y="167"/>
                    <a:pt x="22" y="170"/>
                    <a:pt x="18" y="173"/>
                  </a:cubicBezTo>
                  <a:cubicBezTo>
                    <a:pt x="15" y="175"/>
                    <a:pt x="12" y="178"/>
                    <a:pt x="9" y="180"/>
                  </a:cubicBezTo>
                  <a:cubicBezTo>
                    <a:pt x="3" y="183"/>
                    <a:pt x="0" y="177"/>
                    <a:pt x="5" y="172"/>
                  </a:cubicBezTo>
                  <a:cubicBezTo>
                    <a:pt x="9" y="168"/>
                    <a:pt x="16" y="163"/>
                    <a:pt x="22" y="159"/>
                  </a:cubicBezTo>
                  <a:cubicBezTo>
                    <a:pt x="45" y="143"/>
                    <a:pt x="45" y="143"/>
                    <a:pt x="45" y="143"/>
                  </a:cubicBezTo>
                  <a:cubicBezTo>
                    <a:pt x="45" y="142"/>
                    <a:pt x="43" y="138"/>
                    <a:pt x="44" y="137"/>
                  </a:cubicBezTo>
                  <a:cubicBezTo>
                    <a:pt x="47" y="135"/>
                    <a:pt x="54" y="135"/>
                    <a:pt x="60" y="134"/>
                  </a:cubicBezTo>
                  <a:cubicBezTo>
                    <a:pt x="71" y="134"/>
                    <a:pt x="69" y="135"/>
                    <a:pt x="75" y="126"/>
                  </a:cubicBezTo>
                  <a:cubicBezTo>
                    <a:pt x="91" y="101"/>
                    <a:pt x="89" y="90"/>
                    <a:pt x="104" y="58"/>
                  </a:cubicBezTo>
                  <a:cubicBezTo>
                    <a:pt x="87" y="31"/>
                    <a:pt x="87" y="31"/>
                    <a:pt x="87" y="31"/>
                  </a:cubicBezTo>
                  <a:lnTo>
                    <a:pt x="117"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8" name="Freeform 55"/>
            <p:cNvSpPr>
              <a:spLocks/>
            </p:cNvSpPr>
            <p:nvPr/>
          </p:nvSpPr>
          <p:spPr bwMode="auto">
            <a:xfrm>
              <a:off x="3571"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9" name="Freeform 56"/>
            <p:cNvSpPr>
              <a:spLocks/>
            </p:cNvSpPr>
            <p:nvPr/>
          </p:nvSpPr>
          <p:spPr bwMode="auto">
            <a:xfrm>
              <a:off x="3518"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20" name="Freeform 57"/>
            <p:cNvSpPr>
              <a:spLocks/>
            </p:cNvSpPr>
            <p:nvPr/>
          </p:nvSpPr>
          <p:spPr bwMode="auto">
            <a:xfrm>
              <a:off x="3770" y="1995"/>
              <a:ext cx="98"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spTree>
    <p:extLst>
      <p:ext uri="{BB962C8B-B14F-4D97-AF65-F5344CB8AC3E}">
        <p14:creationId xmlns:p14="http://schemas.microsoft.com/office/powerpoint/2010/main" val="1738891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1" name="Text Placeholder 7"/>
          <p:cNvSpPr>
            <a:spLocks noGrp="1"/>
          </p:cNvSpPr>
          <p:nvPr>
            <p:ph type="body" sz="quarter" idx="11"/>
          </p:nvPr>
        </p:nvSpPr>
        <p:spPr>
          <a:xfrm>
            <a:off x="838200" y="1484034"/>
            <a:ext cx="4023360" cy="1461939"/>
          </a:xfrm>
          <a:prstGeom prst="rect">
            <a:avLst/>
          </a:prstGeom>
        </p:spPr>
        <p:txBody>
          <a:bodyPr vert="horz" lIns="0" tIns="0" rIns="0" bIns="0"/>
          <a:lstStyle>
            <a:lvl1pPr>
              <a:defRPr b="1" i="0">
                <a:solidFill>
                  <a:schemeClr val="tx2"/>
                </a:solidFill>
                <a:latin typeface="Univers for KPMG"/>
                <a:cs typeface="Univers for KPMG"/>
              </a:defRPr>
            </a:lvl1pPr>
            <a:lvl2pPr marL="0" indent="0">
              <a:buFont typeface="Lucida Grande" charset="0"/>
              <a:buNone/>
              <a:defRPr>
                <a:solidFill>
                  <a:schemeClr val="tx2"/>
                </a:solidFill>
                <a:latin typeface="Univers for KPMG Light"/>
                <a:cs typeface="Univers for KPMG Light"/>
              </a:defRPr>
            </a:lvl2pPr>
            <a:lvl3pPr marL="285750" indent="-285750">
              <a:buFont typeface="Lucida Grande"/>
              <a:buChar char="—"/>
              <a:defRPr>
                <a:solidFill>
                  <a:schemeClr val="tx2"/>
                </a:solidFill>
                <a:latin typeface="Univers for KPMG Light"/>
                <a:cs typeface="Univers for KPMG Light"/>
              </a:defRPr>
            </a:lvl3pPr>
            <a:lvl4pPr marL="571500" indent="-228600">
              <a:buFont typeface="Lucida Grande"/>
              <a:buChar char="-"/>
              <a:defRPr>
                <a:solidFill>
                  <a:schemeClr val="tx2"/>
                </a:solidFill>
                <a:latin typeface="Univers for KPMG Light"/>
                <a:cs typeface="Univers for KPMG Light"/>
              </a:defRPr>
            </a:lvl4pPr>
            <a:lvl5pPr marL="0" indent="0">
              <a:buFont typeface="Arial" charset="0"/>
              <a:buNone/>
              <a:defRPr baseline="0">
                <a:solidFill>
                  <a:schemeClr val="accent5"/>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7"/>
          <p:cNvSpPr>
            <a:spLocks noGrp="1"/>
          </p:cNvSpPr>
          <p:nvPr>
            <p:ph type="body" sz="quarter" idx="12"/>
          </p:nvPr>
        </p:nvSpPr>
        <p:spPr>
          <a:xfrm>
            <a:off x="5212080" y="1484034"/>
            <a:ext cx="4038600" cy="1461939"/>
          </a:xfrm>
          <a:prstGeom prst="rect">
            <a:avLst/>
          </a:prstGeom>
        </p:spPr>
        <p:txBody>
          <a:bodyPr vert="horz" lIns="0" tIns="0" rIns="0" bIns="0"/>
          <a:lstStyle>
            <a:lvl1pPr>
              <a:defRPr b="1" i="0">
                <a:solidFill>
                  <a:schemeClr val="tx2"/>
                </a:solidFill>
                <a:latin typeface="Univers for KPMG"/>
                <a:cs typeface="Univers for KPMG"/>
              </a:defRPr>
            </a:lvl1pPr>
            <a:lvl2pPr>
              <a:defRPr>
                <a:solidFill>
                  <a:schemeClr val="tx2"/>
                </a:solidFill>
                <a:latin typeface="Univers for KPMG Light"/>
                <a:cs typeface="Univers for KPMG Light"/>
              </a:defRPr>
            </a:lvl2pPr>
            <a:lvl3pPr marL="285750" indent="-285750">
              <a:buFont typeface="Lucida Grande"/>
              <a:buChar char="—"/>
              <a:defRPr>
                <a:solidFill>
                  <a:schemeClr val="tx2"/>
                </a:solidFill>
                <a:latin typeface="Univers for KPMG Light"/>
                <a:cs typeface="Univers for KPMG Light"/>
              </a:defRPr>
            </a:lvl3pPr>
            <a:lvl4pPr marL="571500" indent="-228600">
              <a:buFont typeface="Lucida Grande"/>
              <a:buChar char="-"/>
              <a:defRPr>
                <a:solidFill>
                  <a:schemeClr val="tx2"/>
                </a:solidFill>
                <a:latin typeface="Univers for KPMG Light"/>
                <a:cs typeface="Univers for KPMG Light"/>
              </a:defRPr>
            </a:lvl4pPr>
            <a:lvl5pPr>
              <a:defRPr>
                <a:solidFill>
                  <a:schemeClr val="accent5"/>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277375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635" userDrawn="1">
          <p15:clr>
            <a:srgbClr val="FBAE40"/>
          </p15:clr>
        </p15:guide>
        <p15:guide id="4" orient="horz" pos="381" userDrawn="1">
          <p15:clr>
            <a:srgbClr val="FBAE40"/>
          </p15:clr>
        </p15:guide>
        <p15:guide id="5" orient="horz" pos="847" userDrawn="1">
          <p15:clr>
            <a:srgbClr val="FBAE40"/>
          </p15:clr>
        </p15:guide>
        <p15:guide id="6" orient="horz" pos="3769" userDrawn="1">
          <p15:clr>
            <a:srgbClr val="FBAE40"/>
          </p15:clr>
        </p15:guide>
        <p15:guide id="7" pos="528" userDrawn="1">
          <p15:clr>
            <a:srgbClr val="FBAE40"/>
          </p15:clr>
        </p15:guide>
        <p15:guide id="8" pos="57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grpSp>
        <p:nvGrpSpPr>
          <p:cNvPr id="4" name="Group 41"/>
          <p:cNvGrpSpPr>
            <a:grpSpLocks noChangeAspect="1"/>
          </p:cNvGrpSpPr>
          <p:nvPr userDrawn="1"/>
        </p:nvGrpSpPr>
        <p:grpSpPr bwMode="auto">
          <a:xfrm>
            <a:off x="4422307" y="1930400"/>
            <a:ext cx="1070486" cy="4041775"/>
            <a:chOff x="3518" y="1159"/>
            <a:chExt cx="644" cy="2006"/>
          </a:xfrm>
        </p:grpSpPr>
        <p:sp>
          <p:nvSpPr>
            <p:cNvPr id="5" name="Freeform 42"/>
            <p:cNvSpPr>
              <a:spLocks/>
            </p:cNvSpPr>
            <p:nvPr/>
          </p:nvSpPr>
          <p:spPr bwMode="auto">
            <a:xfrm>
              <a:off x="3713" y="1166"/>
              <a:ext cx="247"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 name="Freeform 43"/>
            <p:cNvSpPr>
              <a:spLocks/>
            </p:cNvSpPr>
            <p:nvPr/>
          </p:nvSpPr>
          <p:spPr bwMode="auto">
            <a:xfrm>
              <a:off x="3853" y="3037"/>
              <a:ext cx="116"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7" name="Freeform 44"/>
            <p:cNvSpPr>
              <a:spLocks/>
            </p:cNvSpPr>
            <p:nvPr/>
          </p:nvSpPr>
          <p:spPr bwMode="auto">
            <a:xfrm>
              <a:off x="3729"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8" name="Freeform 45"/>
            <p:cNvSpPr>
              <a:spLocks/>
            </p:cNvSpPr>
            <p:nvPr/>
          </p:nvSpPr>
          <p:spPr bwMode="auto">
            <a:xfrm>
              <a:off x="3647" y="1442"/>
              <a:ext cx="368"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9" name="Freeform 46"/>
            <p:cNvSpPr>
              <a:spLocks/>
            </p:cNvSpPr>
            <p:nvPr/>
          </p:nvSpPr>
          <p:spPr bwMode="auto">
            <a:xfrm>
              <a:off x="3784" y="1442"/>
              <a:ext cx="114"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0" name="Freeform 47"/>
            <p:cNvSpPr>
              <a:spLocks/>
            </p:cNvSpPr>
            <p:nvPr/>
          </p:nvSpPr>
          <p:spPr bwMode="auto">
            <a:xfrm>
              <a:off x="3722" y="1184"/>
              <a:ext cx="238"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1" name="Freeform 48"/>
            <p:cNvSpPr>
              <a:spLocks/>
            </p:cNvSpPr>
            <p:nvPr/>
          </p:nvSpPr>
          <p:spPr bwMode="auto">
            <a:xfrm>
              <a:off x="3702" y="1159"/>
              <a:ext cx="272"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2" name="Freeform 49"/>
            <p:cNvSpPr>
              <a:spLocks/>
            </p:cNvSpPr>
            <p:nvPr/>
          </p:nvSpPr>
          <p:spPr bwMode="auto">
            <a:xfrm>
              <a:off x="3656"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3" name="Freeform 50"/>
            <p:cNvSpPr>
              <a:spLocks/>
            </p:cNvSpPr>
            <p:nvPr/>
          </p:nvSpPr>
          <p:spPr bwMode="auto">
            <a:xfrm>
              <a:off x="3875" y="1546"/>
              <a:ext cx="145"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4" name="Freeform 51"/>
            <p:cNvSpPr>
              <a:spLocks/>
            </p:cNvSpPr>
            <p:nvPr/>
          </p:nvSpPr>
          <p:spPr bwMode="auto">
            <a:xfrm>
              <a:off x="3951" y="1541"/>
              <a:ext cx="158" cy="249"/>
            </a:xfrm>
            <a:custGeom>
              <a:avLst/>
              <a:gdLst>
                <a:gd name="T0" fmla="*/ 41 w 89"/>
                <a:gd name="T1" fmla="*/ 20 h 141"/>
                <a:gd name="T2" fmla="*/ 89 w 89"/>
                <a:gd name="T3" fmla="*/ 104 h 141"/>
                <a:gd name="T4" fmla="*/ 53 w 89"/>
                <a:gd name="T5" fmla="*/ 141 h 141"/>
                <a:gd name="T6" fmla="*/ 20 w 89"/>
                <a:gd name="T7" fmla="*/ 100 h 141"/>
                <a:gd name="T8" fmla="*/ 41 w 89"/>
                <a:gd name="T9" fmla="*/ 20 h 141"/>
              </a:gdLst>
              <a:ahLst/>
              <a:cxnLst>
                <a:cxn ang="0">
                  <a:pos x="T0" y="T1"/>
                </a:cxn>
                <a:cxn ang="0">
                  <a:pos x="T2" y="T3"/>
                </a:cxn>
                <a:cxn ang="0">
                  <a:pos x="T4" y="T5"/>
                </a:cxn>
                <a:cxn ang="0">
                  <a:pos x="T6" y="T7"/>
                </a:cxn>
                <a:cxn ang="0">
                  <a:pos x="T8" y="T9"/>
                </a:cxn>
              </a:cxnLst>
              <a:rect l="0" t="0" r="r" b="b"/>
              <a:pathLst>
                <a:path w="89" h="141">
                  <a:moveTo>
                    <a:pt x="41" y="20"/>
                  </a:moveTo>
                  <a:cubicBezTo>
                    <a:pt x="89" y="104"/>
                    <a:pt x="89" y="104"/>
                    <a:pt x="89" y="104"/>
                  </a:cubicBezTo>
                  <a:cubicBezTo>
                    <a:pt x="53" y="141"/>
                    <a:pt x="53" y="141"/>
                    <a:pt x="53" y="141"/>
                  </a:cubicBezTo>
                  <a:cubicBezTo>
                    <a:pt x="20" y="100"/>
                    <a:pt x="20" y="100"/>
                    <a:pt x="20" y="100"/>
                  </a:cubicBezTo>
                  <a:cubicBezTo>
                    <a:pt x="0" y="74"/>
                    <a:pt x="26" y="0"/>
                    <a:pt x="41" y="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5" name="Freeform 52"/>
            <p:cNvSpPr>
              <a:spLocks/>
            </p:cNvSpPr>
            <p:nvPr/>
          </p:nvSpPr>
          <p:spPr bwMode="auto">
            <a:xfrm>
              <a:off x="383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6" name="Freeform 53"/>
            <p:cNvSpPr>
              <a:spLocks/>
            </p:cNvSpPr>
            <p:nvPr/>
          </p:nvSpPr>
          <p:spPr bwMode="auto">
            <a:xfrm>
              <a:off x="3649" y="1995"/>
              <a:ext cx="219"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7" name="Freeform 54"/>
            <p:cNvSpPr>
              <a:spLocks/>
            </p:cNvSpPr>
            <p:nvPr/>
          </p:nvSpPr>
          <p:spPr bwMode="auto">
            <a:xfrm>
              <a:off x="3898" y="1728"/>
              <a:ext cx="264" cy="361"/>
            </a:xfrm>
            <a:custGeom>
              <a:avLst/>
              <a:gdLst>
                <a:gd name="T0" fmla="*/ 117 w 149"/>
                <a:gd name="T1" fmla="*/ 0 h 204"/>
                <a:gd name="T2" fmla="*/ 141 w 149"/>
                <a:gd name="T3" fmla="*/ 38 h 204"/>
                <a:gd name="T4" fmla="*/ 144 w 149"/>
                <a:gd name="T5" fmla="*/ 64 h 204"/>
                <a:gd name="T6" fmla="*/ 118 w 149"/>
                <a:gd name="T7" fmla="*/ 112 h 204"/>
                <a:gd name="T8" fmla="*/ 89 w 149"/>
                <a:gd name="T9" fmla="*/ 150 h 204"/>
                <a:gd name="T10" fmla="*/ 78 w 149"/>
                <a:gd name="T11" fmla="*/ 169 h 204"/>
                <a:gd name="T12" fmla="*/ 58 w 149"/>
                <a:gd name="T13" fmla="*/ 186 h 204"/>
                <a:gd name="T14" fmla="*/ 43 w 149"/>
                <a:gd name="T15" fmla="*/ 199 h 204"/>
                <a:gd name="T16" fmla="*/ 36 w 149"/>
                <a:gd name="T17" fmla="*/ 200 h 204"/>
                <a:gd name="T18" fmla="*/ 40 w 149"/>
                <a:gd name="T19" fmla="*/ 194 h 204"/>
                <a:gd name="T20" fmla="*/ 47 w 149"/>
                <a:gd name="T21" fmla="*/ 184 h 204"/>
                <a:gd name="T22" fmla="*/ 47 w 149"/>
                <a:gd name="T23" fmla="*/ 183 h 204"/>
                <a:gd name="T24" fmla="*/ 28 w 149"/>
                <a:gd name="T25" fmla="*/ 198 h 204"/>
                <a:gd name="T26" fmla="*/ 22 w 149"/>
                <a:gd name="T27" fmla="*/ 193 h 204"/>
                <a:gd name="T28" fmla="*/ 41 w 149"/>
                <a:gd name="T29" fmla="*/ 176 h 204"/>
                <a:gd name="T30" fmla="*/ 41 w 149"/>
                <a:gd name="T31" fmla="*/ 173 h 204"/>
                <a:gd name="T32" fmla="*/ 17 w 149"/>
                <a:gd name="T33" fmla="*/ 191 h 204"/>
                <a:gd name="T34" fmla="*/ 11 w 149"/>
                <a:gd name="T35" fmla="*/ 184 h 204"/>
                <a:gd name="T36" fmla="*/ 33 w 149"/>
                <a:gd name="T37" fmla="*/ 166 h 204"/>
                <a:gd name="T38" fmla="*/ 32 w 149"/>
                <a:gd name="T39" fmla="*/ 164 h 204"/>
                <a:gd name="T40" fmla="*/ 18 w 149"/>
                <a:gd name="T41" fmla="*/ 173 h 204"/>
                <a:gd name="T42" fmla="*/ 9 w 149"/>
                <a:gd name="T43" fmla="*/ 180 h 204"/>
                <a:gd name="T44" fmla="*/ 5 w 149"/>
                <a:gd name="T45" fmla="*/ 172 h 204"/>
                <a:gd name="T46" fmla="*/ 22 w 149"/>
                <a:gd name="T47" fmla="*/ 159 h 204"/>
                <a:gd name="T48" fmla="*/ 45 w 149"/>
                <a:gd name="T49" fmla="*/ 143 h 204"/>
                <a:gd name="T50" fmla="*/ 44 w 149"/>
                <a:gd name="T51" fmla="*/ 137 h 204"/>
                <a:gd name="T52" fmla="*/ 60 w 149"/>
                <a:gd name="T53" fmla="*/ 134 h 204"/>
                <a:gd name="T54" fmla="*/ 75 w 149"/>
                <a:gd name="T55" fmla="*/ 126 h 204"/>
                <a:gd name="T56" fmla="*/ 104 w 149"/>
                <a:gd name="T57" fmla="*/ 58 h 204"/>
                <a:gd name="T58" fmla="*/ 87 w 149"/>
                <a:gd name="T59" fmla="*/ 31 h 204"/>
                <a:gd name="T60" fmla="*/ 117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117" y="0"/>
                  </a:moveTo>
                  <a:cubicBezTo>
                    <a:pt x="141" y="38"/>
                    <a:pt x="141" y="38"/>
                    <a:pt x="141" y="38"/>
                  </a:cubicBezTo>
                  <a:cubicBezTo>
                    <a:pt x="149" y="50"/>
                    <a:pt x="148" y="53"/>
                    <a:pt x="144" y="64"/>
                  </a:cubicBezTo>
                  <a:cubicBezTo>
                    <a:pt x="137" y="83"/>
                    <a:pt x="130" y="95"/>
                    <a:pt x="118" y="112"/>
                  </a:cubicBezTo>
                  <a:cubicBezTo>
                    <a:pt x="105" y="131"/>
                    <a:pt x="103" y="125"/>
                    <a:pt x="89" y="150"/>
                  </a:cubicBezTo>
                  <a:cubicBezTo>
                    <a:pt x="83" y="160"/>
                    <a:pt x="82" y="165"/>
                    <a:pt x="78" y="169"/>
                  </a:cubicBezTo>
                  <a:cubicBezTo>
                    <a:pt x="71" y="176"/>
                    <a:pt x="65" y="180"/>
                    <a:pt x="58" y="186"/>
                  </a:cubicBezTo>
                  <a:cubicBezTo>
                    <a:pt x="54" y="189"/>
                    <a:pt x="49" y="193"/>
                    <a:pt x="43" y="199"/>
                  </a:cubicBezTo>
                  <a:cubicBezTo>
                    <a:pt x="40" y="202"/>
                    <a:pt x="38" y="201"/>
                    <a:pt x="36" y="200"/>
                  </a:cubicBezTo>
                  <a:cubicBezTo>
                    <a:pt x="35" y="199"/>
                    <a:pt x="36" y="199"/>
                    <a:pt x="40" y="194"/>
                  </a:cubicBezTo>
                  <a:cubicBezTo>
                    <a:pt x="47" y="184"/>
                    <a:pt x="47" y="184"/>
                    <a:pt x="47" y="184"/>
                  </a:cubicBezTo>
                  <a:cubicBezTo>
                    <a:pt x="51" y="180"/>
                    <a:pt x="52" y="179"/>
                    <a:pt x="47" y="183"/>
                  </a:cubicBezTo>
                  <a:cubicBezTo>
                    <a:pt x="40" y="188"/>
                    <a:pt x="35" y="192"/>
                    <a:pt x="28" y="198"/>
                  </a:cubicBezTo>
                  <a:cubicBezTo>
                    <a:pt x="22" y="204"/>
                    <a:pt x="17" y="199"/>
                    <a:pt x="22" y="193"/>
                  </a:cubicBezTo>
                  <a:cubicBezTo>
                    <a:pt x="41" y="176"/>
                    <a:pt x="41" y="176"/>
                    <a:pt x="41" y="176"/>
                  </a:cubicBezTo>
                  <a:cubicBezTo>
                    <a:pt x="44" y="172"/>
                    <a:pt x="44" y="171"/>
                    <a:pt x="41" y="173"/>
                  </a:cubicBezTo>
                  <a:cubicBezTo>
                    <a:pt x="33" y="180"/>
                    <a:pt x="24" y="184"/>
                    <a:pt x="17" y="191"/>
                  </a:cubicBezTo>
                  <a:cubicBezTo>
                    <a:pt x="8" y="196"/>
                    <a:pt x="5" y="189"/>
                    <a:pt x="11" y="184"/>
                  </a:cubicBezTo>
                  <a:cubicBezTo>
                    <a:pt x="13" y="182"/>
                    <a:pt x="26" y="171"/>
                    <a:pt x="33" y="166"/>
                  </a:cubicBezTo>
                  <a:cubicBezTo>
                    <a:pt x="40" y="161"/>
                    <a:pt x="35" y="162"/>
                    <a:pt x="32" y="164"/>
                  </a:cubicBezTo>
                  <a:cubicBezTo>
                    <a:pt x="27" y="167"/>
                    <a:pt x="22" y="170"/>
                    <a:pt x="18" y="173"/>
                  </a:cubicBezTo>
                  <a:cubicBezTo>
                    <a:pt x="15" y="175"/>
                    <a:pt x="12" y="178"/>
                    <a:pt x="9" y="180"/>
                  </a:cubicBezTo>
                  <a:cubicBezTo>
                    <a:pt x="3" y="183"/>
                    <a:pt x="0" y="177"/>
                    <a:pt x="5" y="172"/>
                  </a:cubicBezTo>
                  <a:cubicBezTo>
                    <a:pt x="9" y="168"/>
                    <a:pt x="16" y="163"/>
                    <a:pt x="22" y="159"/>
                  </a:cubicBezTo>
                  <a:cubicBezTo>
                    <a:pt x="45" y="143"/>
                    <a:pt x="45" y="143"/>
                    <a:pt x="45" y="143"/>
                  </a:cubicBezTo>
                  <a:cubicBezTo>
                    <a:pt x="45" y="142"/>
                    <a:pt x="43" y="138"/>
                    <a:pt x="44" y="137"/>
                  </a:cubicBezTo>
                  <a:cubicBezTo>
                    <a:pt x="47" y="135"/>
                    <a:pt x="54" y="135"/>
                    <a:pt x="60" y="134"/>
                  </a:cubicBezTo>
                  <a:cubicBezTo>
                    <a:pt x="71" y="134"/>
                    <a:pt x="69" y="135"/>
                    <a:pt x="75" y="126"/>
                  </a:cubicBezTo>
                  <a:cubicBezTo>
                    <a:pt x="91" y="101"/>
                    <a:pt x="89" y="90"/>
                    <a:pt x="104" y="58"/>
                  </a:cubicBezTo>
                  <a:cubicBezTo>
                    <a:pt x="87" y="31"/>
                    <a:pt x="87" y="31"/>
                    <a:pt x="87" y="31"/>
                  </a:cubicBezTo>
                  <a:lnTo>
                    <a:pt x="117"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8" name="Freeform 55"/>
            <p:cNvSpPr>
              <a:spLocks/>
            </p:cNvSpPr>
            <p:nvPr/>
          </p:nvSpPr>
          <p:spPr bwMode="auto">
            <a:xfrm>
              <a:off x="3571"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9" name="Freeform 56"/>
            <p:cNvSpPr>
              <a:spLocks/>
            </p:cNvSpPr>
            <p:nvPr/>
          </p:nvSpPr>
          <p:spPr bwMode="auto">
            <a:xfrm>
              <a:off x="3518"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20" name="Freeform 57"/>
            <p:cNvSpPr>
              <a:spLocks/>
            </p:cNvSpPr>
            <p:nvPr/>
          </p:nvSpPr>
          <p:spPr bwMode="auto">
            <a:xfrm>
              <a:off x="3770" y="1995"/>
              <a:ext cx="98"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spTree>
    <p:extLst>
      <p:ext uri="{BB962C8B-B14F-4D97-AF65-F5344CB8AC3E}">
        <p14:creationId xmlns:p14="http://schemas.microsoft.com/office/powerpoint/2010/main" val="20669111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grpSp>
        <p:nvGrpSpPr>
          <p:cNvPr id="4" name="Group 41"/>
          <p:cNvGrpSpPr>
            <a:grpSpLocks noChangeAspect="1"/>
          </p:cNvGrpSpPr>
          <p:nvPr userDrawn="1"/>
        </p:nvGrpSpPr>
        <p:grpSpPr bwMode="auto">
          <a:xfrm>
            <a:off x="4422307" y="1930400"/>
            <a:ext cx="1070486" cy="4041775"/>
            <a:chOff x="3518" y="1159"/>
            <a:chExt cx="644" cy="2006"/>
          </a:xfrm>
        </p:grpSpPr>
        <p:sp>
          <p:nvSpPr>
            <p:cNvPr id="5" name="Freeform 42"/>
            <p:cNvSpPr>
              <a:spLocks/>
            </p:cNvSpPr>
            <p:nvPr/>
          </p:nvSpPr>
          <p:spPr bwMode="auto">
            <a:xfrm>
              <a:off x="3713" y="1166"/>
              <a:ext cx="247"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 name="Freeform 43"/>
            <p:cNvSpPr>
              <a:spLocks/>
            </p:cNvSpPr>
            <p:nvPr/>
          </p:nvSpPr>
          <p:spPr bwMode="auto">
            <a:xfrm>
              <a:off x="3853" y="3037"/>
              <a:ext cx="116"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7" name="Freeform 44"/>
            <p:cNvSpPr>
              <a:spLocks/>
            </p:cNvSpPr>
            <p:nvPr/>
          </p:nvSpPr>
          <p:spPr bwMode="auto">
            <a:xfrm>
              <a:off x="3729"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8" name="Freeform 45"/>
            <p:cNvSpPr>
              <a:spLocks/>
            </p:cNvSpPr>
            <p:nvPr/>
          </p:nvSpPr>
          <p:spPr bwMode="auto">
            <a:xfrm>
              <a:off x="3647" y="1442"/>
              <a:ext cx="368"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9" name="Freeform 46"/>
            <p:cNvSpPr>
              <a:spLocks/>
            </p:cNvSpPr>
            <p:nvPr/>
          </p:nvSpPr>
          <p:spPr bwMode="auto">
            <a:xfrm>
              <a:off x="3784" y="1442"/>
              <a:ext cx="114"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0" name="Freeform 47"/>
            <p:cNvSpPr>
              <a:spLocks/>
            </p:cNvSpPr>
            <p:nvPr/>
          </p:nvSpPr>
          <p:spPr bwMode="auto">
            <a:xfrm>
              <a:off x="3722" y="1184"/>
              <a:ext cx="238"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1" name="Freeform 48"/>
            <p:cNvSpPr>
              <a:spLocks/>
            </p:cNvSpPr>
            <p:nvPr/>
          </p:nvSpPr>
          <p:spPr bwMode="auto">
            <a:xfrm>
              <a:off x="3702" y="1159"/>
              <a:ext cx="272"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2" name="Freeform 49"/>
            <p:cNvSpPr>
              <a:spLocks/>
            </p:cNvSpPr>
            <p:nvPr/>
          </p:nvSpPr>
          <p:spPr bwMode="auto">
            <a:xfrm>
              <a:off x="3656"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3" name="Freeform 50"/>
            <p:cNvSpPr>
              <a:spLocks/>
            </p:cNvSpPr>
            <p:nvPr/>
          </p:nvSpPr>
          <p:spPr bwMode="auto">
            <a:xfrm>
              <a:off x="3875" y="1546"/>
              <a:ext cx="145"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4" name="Freeform 51"/>
            <p:cNvSpPr>
              <a:spLocks/>
            </p:cNvSpPr>
            <p:nvPr/>
          </p:nvSpPr>
          <p:spPr bwMode="auto">
            <a:xfrm>
              <a:off x="3951" y="1541"/>
              <a:ext cx="158" cy="249"/>
            </a:xfrm>
            <a:custGeom>
              <a:avLst/>
              <a:gdLst>
                <a:gd name="T0" fmla="*/ 41 w 89"/>
                <a:gd name="T1" fmla="*/ 20 h 141"/>
                <a:gd name="T2" fmla="*/ 89 w 89"/>
                <a:gd name="T3" fmla="*/ 104 h 141"/>
                <a:gd name="T4" fmla="*/ 53 w 89"/>
                <a:gd name="T5" fmla="*/ 141 h 141"/>
                <a:gd name="T6" fmla="*/ 20 w 89"/>
                <a:gd name="T7" fmla="*/ 100 h 141"/>
                <a:gd name="T8" fmla="*/ 41 w 89"/>
                <a:gd name="T9" fmla="*/ 20 h 141"/>
              </a:gdLst>
              <a:ahLst/>
              <a:cxnLst>
                <a:cxn ang="0">
                  <a:pos x="T0" y="T1"/>
                </a:cxn>
                <a:cxn ang="0">
                  <a:pos x="T2" y="T3"/>
                </a:cxn>
                <a:cxn ang="0">
                  <a:pos x="T4" y="T5"/>
                </a:cxn>
                <a:cxn ang="0">
                  <a:pos x="T6" y="T7"/>
                </a:cxn>
                <a:cxn ang="0">
                  <a:pos x="T8" y="T9"/>
                </a:cxn>
              </a:cxnLst>
              <a:rect l="0" t="0" r="r" b="b"/>
              <a:pathLst>
                <a:path w="89" h="141">
                  <a:moveTo>
                    <a:pt x="41" y="20"/>
                  </a:moveTo>
                  <a:cubicBezTo>
                    <a:pt x="89" y="104"/>
                    <a:pt x="89" y="104"/>
                    <a:pt x="89" y="104"/>
                  </a:cubicBezTo>
                  <a:cubicBezTo>
                    <a:pt x="53" y="141"/>
                    <a:pt x="53" y="141"/>
                    <a:pt x="53" y="141"/>
                  </a:cubicBezTo>
                  <a:cubicBezTo>
                    <a:pt x="20" y="100"/>
                    <a:pt x="20" y="100"/>
                    <a:pt x="20" y="100"/>
                  </a:cubicBezTo>
                  <a:cubicBezTo>
                    <a:pt x="0" y="74"/>
                    <a:pt x="26" y="0"/>
                    <a:pt x="41" y="2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5" name="Freeform 52"/>
            <p:cNvSpPr>
              <a:spLocks/>
            </p:cNvSpPr>
            <p:nvPr/>
          </p:nvSpPr>
          <p:spPr bwMode="auto">
            <a:xfrm>
              <a:off x="383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6" name="Freeform 53"/>
            <p:cNvSpPr>
              <a:spLocks/>
            </p:cNvSpPr>
            <p:nvPr/>
          </p:nvSpPr>
          <p:spPr bwMode="auto">
            <a:xfrm>
              <a:off x="3649" y="1995"/>
              <a:ext cx="219"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7" name="Freeform 54"/>
            <p:cNvSpPr>
              <a:spLocks/>
            </p:cNvSpPr>
            <p:nvPr/>
          </p:nvSpPr>
          <p:spPr bwMode="auto">
            <a:xfrm>
              <a:off x="3898" y="1728"/>
              <a:ext cx="264" cy="361"/>
            </a:xfrm>
            <a:custGeom>
              <a:avLst/>
              <a:gdLst>
                <a:gd name="T0" fmla="*/ 117 w 149"/>
                <a:gd name="T1" fmla="*/ 0 h 204"/>
                <a:gd name="T2" fmla="*/ 141 w 149"/>
                <a:gd name="T3" fmla="*/ 38 h 204"/>
                <a:gd name="T4" fmla="*/ 144 w 149"/>
                <a:gd name="T5" fmla="*/ 64 h 204"/>
                <a:gd name="T6" fmla="*/ 118 w 149"/>
                <a:gd name="T7" fmla="*/ 112 h 204"/>
                <a:gd name="T8" fmla="*/ 89 w 149"/>
                <a:gd name="T9" fmla="*/ 150 h 204"/>
                <a:gd name="T10" fmla="*/ 78 w 149"/>
                <a:gd name="T11" fmla="*/ 169 h 204"/>
                <a:gd name="T12" fmla="*/ 58 w 149"/>
                <a:gd name="T13" fmla="*/ 186 h 204"/>
                <a:gd name="T14" fmla="*/ 43 w 149"/>
                <a:gd name="T15" fmla="*/ 199 h 204"/>
                <a:gd name="T16" fmla="*/ 36 w 149"/>
                <a:gd name="T17" fmla="*/ 200 h 204"/>
                <a:gd name="T18" fmla="*/ 40 w 149"/>
                <a:gd name="T19" fmla="*/ 194 h 204"/>
                <a:gd name="T20" fmla="*/ 47 w 149"/>
                <a:gd name="T21" fmla="*/ 184 h 204"/>
                <a:gd name="T22" fmla="*/ 47 w 149"/>
                <a:gd name="T23" fmla="*/ 183 h 204"/>
                <a:gd name="T24" fmla="*/ 28 w 149"/>
                <a:gd name="T25" fmla="*/ 198 h 204"/>
                <a:gd name="T26" fmla="*/ 22 w 149"/>
                <a:gd name="T27" fmla="*/ 193 h 204"/>
                <a:gd name="T28" fmla="*/ 41 w 149"/>
                <a:gd name="T29" fmla="*/ 176 h 204"/>
                <a:gd name="T30" fmla="*/ 41 w 149"/>
                <a:gd name="T31" fmla="*/ 173 h 204"/>
                <a:gd name="T32" fmla="*/ 17 w 149"/>
                <a:gd name="T33" fmla="*/ 191 h 204"/>
                <a:gd name="T34" fmla="*/ 11 w 149"/>
                <a:gd name="T35" fmla="*/ 184 h 204"/>
                <a:gd name="T36" fmla="*/ 33 w 149"/>
                <a:gd name="T37" fmla="*/ 166 h 204"/>
                <a:gd name="T38" fmla="*/ 32 w 149"/>
                <a:gd name="T39" fmla="*/ 164 h 204"/>
                <a:gd name="T40" fmla="*/ 18 w 149"/>
                <a:gd name="T41" fmla="*/ 173 h 204"/>
                <a:gd name="T42" fmla="*/ 9 w 149"/>
                <a:gd name="T43" fmla="*/ 180 h 204"/>
                <a:gd name="T44" fmla="*/ 5 w 149"/>
                <a:gd name="T45" fmla="*/ 172 h 204"/>
                <a:gd name="T46" fmla="*/ 22 w 149"/>
                <a:gd name="T47" fmla="*/ 159 h 204"/>
                <a:gd name="T48" fmla="*/ 45 w 149"/>
                <a:gd name="T49" fmla="*/ 143 h 204"/>
                <a:gd name="T50" fmla="*/ 44 w 149"/>
                <a:gd name="T51" fmla="*/ 137 h 204"/>
                <a:gd name="T52" fmla="*/ 60 w 149"/>
                <a:gd name="T53" fmla="*/ 134 h 204"/>
                <a:gd name="T54" fmla="*/ 75 w 149"/>
                <a:gd name="T55" fmla="*/ 126 h 204"/>
                <a:gd name="T56" fmla="*/ 104 w 149"/>
                <a:gd name="T57" fmla="*/ 58 h 204"/>
                <a:gd name="T58" fmla="*/ 87 w 149"/>
                <a:gd name="T59" fmla="*/ 31 h 204"/>
                <a:gd name="T60" fmla="*/ 117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117" y="0"/>
                  </a:moveTo>
                  <a:cubicBezTo>
                    <a:pt x="141" y="38"/>
                    <a:pt x="141" y="38"/>
                    <a:pt x="141" y="38"/>
                  </a:cubicBezTo>
                  <a:cubicBezTo>
                    <a:pt x="149" y="50"/>
                    <a:pt x="148" y="53"/>
                    <a:pt x="144" y="64"/>
                  </a:cubicBezTo>
                  <a:cubicBezTo>
                    <a:pt x="137" y="83"/>
                    <a:pt x="130" y="95"/>
                    <a:pt x="118" y="112"/>
                  </a:cubicBezTo>
                  <a:cubicBezTo>
                    <a:pt x="105" y="131"/>
                    <a:pt x="103" y="125"/>
                    <a:pt x="89" y="150"/>
                  </a:cubicBezTo>
                  <a:cubicBezTo>
                    <a:pt x="83" y="160"/>
                    <a:pt x="82" y="165"/>
                    <a:pt x="78" y="169"/>
                  </a:cubicBezTo>
                  <a:cubicBezTo>
                    <a:pt x="71" y="176"/>
                    <a:pt x="65" y="180"/>
                    <a:pt x="58" y="186"/>
                  </a:cubicBezTo>
                  <a:cubicBezTo>
                    <a:pt x="54" y="189"/>
                    <a:pt x="49" y="193"/>
                    <a:pt x="43" y="199"/>
                  </a:cubicBezTo>
                  <a:cubicBezTo>
                    <a:pt x="40" y="202"/>
                    <a:pt x="38" y="201"/>
                    <a:pt x="36" y="200"/>
                  </a:cubicBezTo>
                  <a:cubicBezTo>
                    <a:pt x="35" y="199"/>
                    <a:pt x="36" y="199"/>
                    <a:pt x="40" y="194"/>
                  </a:cubicBezTo>
                  <a:cubicBezTo>
                    <a:pt x="47" y="184"/>
                    <a:pt x="47" y="184"/>
                    <a:pt x="47" y="184"/>
                  </a:cubicBezTo>
                  <a:cubicBezTo>
                    <a:pt x="51" y="180"/>
                    <a:pt x="52" y="179"/>
                    <a:pt x="47" y="183"/>
                  </a:cubicBezTo>
                  <a:cubicBezTo>
                    <a:pt x="40" y="188"/>
                    <a:pt x="35" y="192"/>
                    <a:pt x="28" y="198"/>
                  </a:cubicBezTo>
                  <a:cubicBezTo>
                    <a:pt x="22" y="204"/>
                    <a:pt x="17" y="199"/>
                    <a:pt x="22" y="193"/>
                  </a:cubicBezTo>
                  <a:cubicBezTo>
                    <a:pt x="41" y="176"/>
                    <a:pt x="41" y="176"/>
                    <a:pt x="41" y="176"/>
                  </a:cubicBezTo>
                  <a:cubicBezTo>
                    <a:pt x="44" y="172"/>
                    <a:pt x="44" y="171"/>
                    <a:pt x="41" y="173"/>
                  </a:cubicBezTo>
                  <a:cubicBezTo>
                    <a:pt x="33" y="180"/>
                    <a:pt x="24" y="184"/>
                    <a:pt x="17" y="191"/>
                  </a:cubicBezTo>
                  <a:cubicBezTo>
                    <a:pt x="8" y="196"/>
                    <a:pt x="5" y="189"/>
                    <a:pt x="11" y="184"/>
                  </a:cubicBezTo>
                  <a:cubicBezTo>
                    <a:pt x="13" y="182"/>
                    <a:pt x="26" y="171"/>
                    <a:pt x="33" y="166"/>
                  </a:cubicBezTo>
                  <a:cubicBezTo>
                    <a:pt x="40" y="161"/>
                    <a:pt x="35" y="162"/>
                    <a:pt x="32" y="164"/>
                  </a:cubicBezTo>
                  <a:cubicBezTo>
                    <a:pt x="27" y="167"/>
                    <a:pt x="22" y="170"/>
                    <a:pt x="18" y="173"/>
                  </a:cubicBezTo>
                  <a:cubicBezTo>
                    <a:pt x="15" y="175"/>
                    <a:pt x="12" y="178"/>
                    <a:pt x="9" y="180"/>
                  </a:cubicBezTo>
                  <a:cubicBezTo>
                    <a:pt x="3" y="183"/>
                    <a:pt x="0" y="177"/>
                    <a:pt x="5" y="172"/>
                  </a:cubicBezTo>
                  <a:cubicBezTo>
                    <a:pt x="9" y="168"/>
                    <a:pt x="16" y="163"/>
                    <a:pt x="22" y="159"/>
                  </a:cubicBezTo>
                  <a:cubicBezTo>
                    <a:pt x="45" y="143"/>
                    <a:pt x="45" y="143"/>
                    <a:pt x="45" y="143"/>
                  </a:cubicBezTo>
                  <a:cubicBezTo>
                    <a:pt x="45" y="142"/>
                    <a:pt x="43" y="138"/>
                    <a:pt x="44" y="137"/>
                  </a:cubicBezTo>
                  <a:cubicBezTo>
                    <a:pt x="47" y="135"/>
                    <a:pt x="54" y="135"/>
                    <a:pt x="60" y="134"/>
                  </a:cubicBezTo>
                  <a:cubicBezTo>
                    <a:pt x="71" y="134"/>
                    <a:pt x="69" y="135"/>
                    <a:pt x="75" y="126"/>
                  </a:cubicBezTo>
                  <a:cubicBezTo>
                    <a:pt x="91" y="101"/>
                    <a:pt x="89" y="90"/>
                    <a:pt x="104" y="58"/>
                  </a:cubicBezTo>
                  <a:cubicBezTo>
                    <a:pt x="87" y="31"/>
                    <a:pt x="87" y="31"/>
                    <a:pt x="87" y="31"/>
                  </a:cubicBezTo>
                  <a:lnTo>
                    <a:pt x="117"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8" name="Freeform 55"/>
            <p:cNvSpPr>
              <a:spLocks/>
            </p:cNvSpPr>
            <p:nvPr/>
          </p:nvSpPr>
          <p:spPr bwMode="auto">
            <a:xfrm>
              <a:off x="3571"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19" name="Freeform 56"/>
            <p:cNvSpPr>
              <a:spLocks/>
            </p:cNvSpPr>
            <p:nvPr/>
          </p:nvSpPr>
          <p:spPr bwMode="auto">
            <a:xfrm>
              <a:off x="3518"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20" name="Freeform 57"/>
            <p:cNvSpPr>
              <a:spLocks/>
            </p:cNvSpPr>
            <p:nvPr/>
          </p:nvSpPr>
          <p:spPr bwMode="auto">
            <a:xfrm>
              <a:off x="3770" y="1995"/>
              <a:ext cx="98"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grpSp>
        <p:nvGrpSpPr>
          <p:cNvPr id="65" name="Group 64"/>
          <p:cNvGrpSpPr/>
          <p:nvPr userDrawn="1"/>
        </p:nvGrpSpPr>
        <p:grpSpPr>
          <a:xfrm>
            <a:off x="3395039" y="1930400"/>
            <a:ext cx="1333120" cy="4041775"/>
            <a:chOff x="6695350" y="1930399"/>
            <a:chExt cx="1615903" cy="4041775"/>
          </a:xfrm>
        </p:grpSpPr>
        <p:grpSp>
          <p:nvGrpSpPr>
            <p:cNvPr id="44" name="Group 4"/>
            <p:cNvGrpSpPr>
              <a:grpSpLocks noChangeAspect="1"/>
            </p:cNvGrpSpPr>
            <p:nvPr userDrawn="1"/>
          </p:nvGrpSpPr>
          <p:grpSpPr bwMode="auto">
            <a:xfrm>
              <a:off x="6695350" y="1930399"/>
              <a:ext cx="1045704" cy="4041775"/>
              <a:chOff x="3309" y="1159"/>
              <a:chExt cx="519" cy="2006"/>
            </a:xfrm>
          </p:grpSpPr>
          <p:sp>
            <p:nvSpPr>
              <p:cNvPr id="47" name="Freeform 46"/>
              <p:cNvSpPr>
                <a:spLocks/>
              </p:cNvSpPr>
              <p:nvPr/>
            </p:nvSpPr>
            <p:spPr bwMode="auto">
              <a:xfrm>
                <a:off x="3504" y="1166"/>
                <a:ext cx="246" cy="288"/>
              </a:xfrm>
              <a:custGeom>
                <a:avLst/>
                <a:gdLst>
                  <a:gd name="T0" fmla="*/ 119 w 139"/>
                  <a:gd name="T1" fmla="*/ 31 h 163"/>
                  <a:gd name="T2" fmla="*/ 130 w 139"/>
                  <a:gd name="T3" fmla="*/ 119 h 163"/>
                  <a:gd name="T4" fmla="*/ 134 w 139"/>
                  <a:gd name="T5" fmla="*/ 146 h 163"/>
                  <a:gd name="T6" fmla="*/ 13 w 139"/>
                  <a:gd name="T7" fmla="*/ 144 h 163"/>
                  <a:gd name="T8" fmla="*/ 14 w 139"/>
                  <a:gd name="T9" fmla="*/ 106 h 163"/>
                  <a:gd name="T10" fmla="*/ 73 w 139"/>
                  <a:gd name="T11" fmla="*/ 3 h 163"/>
                  <a:gd name="T12" fmla="*/ 119 w 139"/>
                  <a:gd name="T13" fmla="*/ 31 h 163"/>
                </a:gdLst>
                <a:ahLst/>
                <a:cxnLst>
                  <a:cxn ang="0">
                    <a:pos x="T0" y="T1"/>
                  </a:cxn>
                  <a:cxn ang="0">
                    <a:pos x="T2" y="T3"/>
                  </a:cxn>
                  <a:cxn ang="0">
                    <a:pos x="T4" y="T5"/>
                  </a:cxn>
                  <a:cxn ang="0">
                    <a:pos x="T6" y="T7"/>
                  </a:cxn>
                  <a:cxn ang="0">
                    <a:pos x="T8" y="T9"/>
                  </a:cxn>
                  <a:cxn ang="0">
                    <a:pos x="T10" y="T11"/>
                  </a:cxn>
                  <a:cxn ang="0">
                    <a:pos x="T12" y="T13"/>
                  </a:cxn>
                </a:cxnLst>
                <a:rect l="0" t="0" r="r" b="b"/>
                <a:pathLst>
                  <a:path w="139" h="163">
                    <a:moveTo>
                      <a:pt x="119" y="31"/>
                    </a:moveTo>
                    <a:cubicBezTo>
                      <a:pt x="133" y="49"/>
                      <a:pt x="139" y="78"/>
                      <a:pt x="130" y="119"/>
                    </a:cubicBezTo>
                    <a:cubicBezTo>
                      <a:pt x="128" y="129"/>
                      <a:pt x="126" y="140"/>
                      <a:pt x="134" y="146"/>
                    </a:cubicBezTo>
                    <a:cubicBezTo>
                      <a:pt x="122" y="157"/>
                      <a:pt x="30" y="163"/>
                      <a:pt x="13" y="144"/>
                    </a:cubicBezTo>
                    <a:cubicBezTo>
                      <a:pt x="17" y="136"/>
                      <a:pt x="19" y="123"/>
                      <a:pt x="14" y="106"/>
                    </a:cubicBezTo>
                    <a:cubicBezTo>
                      <a:pt x="0" y="62"/>
                      <a:pt x="26" y="0"/>
                      <a:pt x="73" y="3"/>
                    </a:cubicBezTo>
                    <a:cubicBezTo>
                      <a:pt x="84" y="2"/>
                      <a:pt x="105" y="12"/>
                      <a:pt x="119" y="31"/>
                    </a:cubicBez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48" name="Freeform 47"/>
              <p:cNvSpPr>
                <a:spLocks/>
              </p:cNvSpPr>
              <p:nvPr/>
            </p:nvSpPr>
            <p:spPr bwMode="auto">
              <a:xfrm>
                <a:off x="3644" y="3037"/>
                <a:ext cx="115" cy="128"/>
              </a:xfrm>
              <a:custGeom>
                <a:avLst/>
                <a:gdLst>
                  <a:gd name="T0" fmla="*/ 4 w 65"/>
                  <a:gd name="T1" fmla="*/ 15 h 72"/>
                  <a:gd name="T2" fmla="*/ 1 w 65"/>
                  <a:gd name="T3" fmla="*/ 39 h 72"/>
                  <a:gd name="T4" fmla="*/ 5 w 65"/>
                  <a:gd name="T5" fmla="*/ 52 h 72"/>
                  <a:gd name="T6" fmla="*/ 20 w 65"/>
                  <a:gd name="T7" fmla="*/ 68 h 72"/>
                  <a:gd name="T8" fmla="*/ 39 w 65"/>
                  <a:gd name="T9" fmla="*/ 72 h 72"/>
                  <a:gd name="T10" fmla="*/ 39 w 65"/>
                  <a:gd name="T11" fmla="*/ 72 h 72"/>
                  <a:gd name="T12" fmla="*/ 54 w 65"/>
                  <a:gd name="T13" fmla="*/ 64 h 72"/>
                  <a:gd name="T14" fmla="*/ 62 w 65"/>
                  <a:gd name="T15" fmla="*/ 55 h 72"/>
                  <a:gd name="T16" fmla="*/ 63 w 65"/>
                  <a:gd name="T17" fmla="*/ 43 h 72"/>
                  <a:gd name="T18" fmla="*/ 55 w 65"/>
                  <a:gd name="T19" fmla="*/ 11 h 72"/>
                  <a:gd name="T20" fmla="*/ 52 w 65"/>
                  <a:gd name="T21" fmla="*/ 1 h 72"/>
                  <a:gd name="T22" fmla="*/ 6 w 65"/>
                  <a:gd name="T23" fmla="*/ 0 h 72"/>
                  <a:gd name="T24" fmla="*/ 4 w 65"/>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2">
                    <a:moveTo>
                      <a:pt x="4" y="15"/>
                    </a:moveTo>
                    <a:cubicBezTo>
                      <a:pt x="1" y="39"/>
                      <a:pt x="1" y="39"/>
                      <a:pt x="1" y="39"/>
                    </a:cubicBezTo>
                    <a:cubicBezTo>
                      <a:pt x="0" y="43"/>
                      <a:pt x="2" y="48"/>
                      <a:pt x="5" y="52"/>
                    </a:cubicBezTo>
                    <a:cubicBezTo>
                      <a:pt x="20" y="68"/>
                      <a:pt x="20" y="68"/>
                      <a:pt x="20" y="68"/>
                    </a:cubicBezTo>
                    <a:cubicBezTo>
                      <a:pt x="23" y="71"/>
                      <a:pt x="35" y="72"/>
                      <a:pt x="39" y="72"/>
                    </a:cubicBezTo>
                    <a:cubicBezTo>
                      <a:pt x="39" y="72"/>
                      <a:pt x="39" y="72"/>
                      <a:pt x="39" y="72"/>
                    </a:cubicBezTo>
                    <a:cubicBezTo>
                      <a:pt x="44" y="72"/>
                      <a:pt x="49" y="67"/>
                      <a:pt x="54" y="64"/>
                    </a:cubicBezTo>
                    <a:cubicBezTo>
                      <a:pt x="62" y="55"/>
                      <a:pt x="62" y="55"/>
                      <a:pt x="62" y="55"/>
                    </a:cubicBezTo>
                    <a:cubicBezTo>
                      <a:pt x="64" y="52"/>
                      <a:pt x="65" y="47"/>
                      <a:pt x="63" y="43"/>
                    </a:cubicBezTo>
                    <a:cubicBezTo>
                      <a:pt x="55" y="11"/>
                      <a:pt x="55" y="11"/>
                      <a:pt x="55" y="11"/>
                    </a:cubicBezTo>
                    <a:cubicBezTo>
                      <a:pt x="52" y="1"/>
                      <a:pt x="52" y="1"/>
                      <a:pt x="52" y="1"/>
                    </a:cubicBezTo>
                    <a:cubicBezTo>
                      <a:pt x="48" y="20"/>
                      <a:pt x="17" y="25"/>
                      <a:pt x="6" y="0"/>
                    </a:cubicBezTo>
                    <a:lnTo>
                      <a:pt x="4" y="15"/>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49" name="Freeform 48"/>
              <p:cNvSpPr>
                <a:spLocks/>
              </p:cNvSpPr>
              <p:nvPr/>
            </p:nvSpPr>
            <p:spPr bwMode="auto">
              <a:xfrm>
                <a:off x="3520" y="3037"/>
                <a:ext cx="114" cy="128"/>
              </a:xfrm>
              <a:custGeom>
                <a:avLst/>
                <a:gdLst>
                  <a:gd name="T0" fmla="*/ 60 w 64"/>
                  <a:gd name="T1" fmla="*/ 15 h 72"/>
                  <a:gd name="T2" fmla="*/ 64 w 64"/>
                  <a:gd name="T3" fmla="*/ 39 h 72"/>
                  <a:gd name="T4" fmla="*/ 59 w 64"/>
                  <a:gd name="T5" fmla="*/ 52 h 72"/>
                  <a:gd name="T6" fmla="*/ 45 w 64"/>
                  <a:gd name="T7" fmla="*/ 69 h 72"/>
                  <a:gd name="T8" fmla="*/ 25 w 64"/>
                  <a:gd name="T9" fmla="*/ 72 h 72"/>
                  <a:gd name="T10" fmla="*/ 25 w 64"/>
                  <a:gd name="T11" fmla="*/ 72 h 72"/>
                  <a:gd name="T12" fmla="*/ 6 w 64"/>
                  <a:gd name="T13" fmla="*/ 64 h 72"/>
                  <a:gd name="T14" fmla="*/ 2 w 64"/>
                  <a:gd name="T15" fmla="*/ 55 h 72"/>
                  <a:gd name="T16" fmla="*/ 1 w 64"/>
                  <a:gd name="T17" fmla="*/ 43 h 72"/>
                  <a:gd name="T18" fmla="*/ 10 w 64"/>
                  <a:gd name="T19" fmla="*/ 11 h 72"/>
                  <a:gd name="T20" fmla="*/ 12 w 64"/>
                  <a:gd name="T21" fmla="*/ 1 h 72"/>
                  <a:gd name="T22" fmla="*/ 58 w 64"/>
                  <a:gd name="T23" fmla="*/ 0 h 72"/>
                  <a:gd name="T24" fmla="*/ 60 w 64"/>
                  <a:gd name="T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72">
                    <a:moveTo>
                      <a:pt x="60" y="15"/>
                    </a:moveTo>
                    <a:cubicBezTo>
                      <a:pt x="64" y="39"/>
                      <a:pt x="64" y="39"/>
                      <a:pt x="64" y="39"/>
                    </a:cubicBezTo>
                    <a:cubicBezTo>
                      <a:pt x="64" y="43"/>
                      <a:pt x="63" y="48"/>
                      <a:pt x="59" y="52"/>
                    </a:cubicBezTo>
                    <a:cubicBezTo>
                      <a:pt x="45" y="69"/>
                      <a:pt x="45" y="69"/>
                      <a:pt x="45" y="69"/>
                    </a:cubicBezTo>
                    <a:cubicBezTo>
                      <a:pt x="42" y="72"/>
                      <a:pt x="29" y="72"/>
                      <a:pt x="25" y="72"/>
                    </a:cubicBezTo>
                    <a:cubicBezTo>
                      <a:pt x="25" y="72"/>
                      <a:pt x="25" y="72"/>
                      <a:pt x="25" y="72"/>
                    </a:cubicBezTo>
                    <a:cubicBezTo>
                      <a:pt x="19" y="72"/>
                      <a:pt x="8" y="69"/>
                      <a:pt x="6" y="64"/>
                    </a:cubicBezTo>
                    <a:cubicBezTo>
                      <a:pt x="2" y="55"/>
                      <a:pt x="2" y="55"/>
                      <a:pt x="2" y="55"/>
                    </a:cubicBezTo>
                    <a:cubicBezTo>
                      <a:pt x="0" y="52"/>
                      <a:pt x="0" y="47"/>
                      <a:pt x="1" y="43"/>
                    </a:cubicBezTo>
                    <a:cubicBezTo>
                      <a:pt x="10" y="11"/>
                      <a:pt x="10" y="11"/>
                      <a:pt x="10" y="11"/>
                    </a:cubicBezTo>
                    <a:cubicBezTo>
                      <a:pt x="12" y="1"/>
                      <a:pt x="12" y="1"/>
                      <a:pt x="12" y="1"/>
                    </a:cubicBezTo>
                    <a:cubicBezTo>
                      <a:pt x="16" y="20"/>
                      <a:pt x="47" y="25"/>
                      <a:pt x="58" y="0"/>
                    </a:cubicBezTo>
                    <a:lnTo>
                      <a:pt x="60" y="15"/>
                    </a:lnTo>
                    <a:close/>
                  </a:path>
                </a:pathLst>
              </a:custGeom>
              <a:solidFill>
                <a:srgbClr val="5E6C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0" name="Freeform 49"/>
              <p:cNvSpPr>
                <a:spLocks/>
              </p:cNvSpPr>
              <p:nvPr/>
            </p:nvSpPr>
            <p:spPr bwMode="auto">
              <a:xfrm>
                <a:off x="3439" y="1442"/>
                <a:ext cx="366" cy="292"/>
              </a:xfrm>
              <a:custGeom>
                <a:avLst/>
                <a:gdLst>
                  <a:gd name="T0" fmla="*/ 105 w 207"/>
                  <a:gd name="T1" fmla="*/ 165 h 165"/>
                  <a:gd name="T2" fmla="*/ 104 w 207"/>
                  <a:gd name="T3" fmla="*/ 162 h 165"/>
                  <a:gd name="T4" fmla="*/ 109 w 207"/>
                  <a:gd name="T5" fmla="*/ 162 h 165"/>
                  <a:gd name="T6" fmla="*/ 170 w 207"/>
                  <a:gd name="T7" fmla="*/ 162 h 165"/>
                  <a:gd name="T8" fmla="*/ 193 w 207"/>
                  <a:gd name="T9" fmla="*/ 131 h 165"/>
                  <a:gd name="T10" fmla="*/ 195 w 207"/>
                  <a:gd name="T11" fmla="*/ 117 h 165"/>
                  <a:gd name="T12" fmla="*/ 205 w 207"/>
                  <a:gd name="T13" fmla="*/ 99 h 165"/>
                  <a:gd name="T14" fmla="*/ 186 w 207"/>
                  <a:gd name="T15" fmla="*/ 66 h 165"/>
                  <a:gd name="T16" fmla="*/ 142 w 207"/>
                  <a:gd name="T17" fmla="*/ 51 h 165"/>
                  <a:gd name="T18" fmla="*/ 139 w 207"/>
                  <a:gd name="T19" fmla="*/ 0 h 165"/>
                  <a:gd name="T20" fmla="*/ 77 w 207"/>
                  <a:gd name="T21" fmla="*/ 0 h 165"/>
                  <a:gd name="T22" fmla="*/ 74 w 207"/>
                  <a:gd name="T23" fmla="*/ 51 h 165"/>
                  <a:gd name="T24" fmla="*/ 34 w 207"/>
                  <a:gd name="T25" fmla="*/ 63 h 165"/>
                  <a:gd name="T26" fmla="*/ 12 w 207"/>
                  <a:gd name="T27" fmla="*/ 77 h 165"/>
                  <a:gd name="T28" fmla="*/ 26 w 207"/>
                  <a:gd name="T29" fmla="*/ 162 h 165"/>
                  <a:gd name="T30" fmla="*/ 105 w 207"/>
                  <a:gd name="T31"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165">
                    <a:moveTo>
                      <a:pt x="105" y="165"/>
                    </a:moveTo>
                    <a:cubicBezTo>
                      <a:pt x="104" y="162"/>
                      <a:pt x="104" y="162"/>
                      <a:pt x="104" y="162"/>
                    </a:cubicBezTo>
                    <a:cubicBezTo>
                      <a:pt x="109" y="162"/>
                      <a:pt x="109" y="162"/>
                      <a:pt x="109" y="162"/>
                    </a:cubicBezTo>
                    <a:cubicBezTo>
                      <a:pt x="170" y="162"/>
                      <a:pt x="170" y="162"/>
                      <a:pt x="170" y="162"/>
                    </a:cubicBezTo>
                    <a:cubicBezTo>
                      <a:pt x="178" y="159"/>
                      <a:pt x="186" y="135"/>
                      <a:pt x="193" y="131"/>
                    </a:cubicBezTo>
                    <a:cubicBezTo>
                      <a:pt x="194" y="125"/>
                      <a:pt x="195" y="120"/>
                      <a:pt x="195" y="117"/>
                    </a:cubicBezTo>
                    <a:cubicBezTo>
                      <a:pt x="196" y="114"/>
                      <a:pt x="202" y="109"/>
                      <a:pt x="205" y="99"/>
                    </a:cubicBezTo>
                    <a:cubicBezTo>
                      <a:pt x="207" y="88"/>
                      <a:pt x="201" y="69"/>
                      <a:pt x="186" y="66"/>
                    </a:cubicBezTo>
                    <a:cubicBezTo>
                      <a:pt x="160" y="60"/>
                      <a:pt x="156" y="62"/>
                      <a:pt x="142" y="51"/>
                    </a:cubicBezTo>
                    <a:cubicBezTo>
                      <a:pt x="134" y="42"/>
                      <a:pt x="134" y="21"/>
                      <a:pt x="139" y="0"/>
                    </a:cubicBezTo>
                    <a:cubicBezTo>
                      <a:pt x="77" y="0"/>
                      <a:pt x="77" y="0"/>
                      <a:pt x="77" y="0"/>
                    </a:cubicBezTo>
                    <a:cubicBezTo>
                      <a:pt x="82" y="21"/>
                      <a:pt x="81" y="42"/>
                      <a:pt x="74" y="51"/>
                    </a:cubicBezTo>
                    <a:cubicBezTo>
                      <a:pt x="66" y="61"/>
                      <a:pt x="36" y="63"/>
                      <a:pt x="34" y="63"/>
                    </a:cubicBezTo>
                    <a:cubicBezTo>
                      <a:pt x="23" y="65"/>
                      <a:pt x="16" y="70"/>
                      <a:pt x="12" y="77"/>
                    </a:cubicBezTo>
                    <a:cubicBezTo>
                      <a:pt x="0" y="104"/>
                      <a:pt x="20" y="135"/>
                      <a:pt x="26" y="162"/>
                    </a:cubicBezTo>
                    <a:lnTo>
                      <a:pt x="105" y="165"/>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1" name="Freeform 50"/>
              <p:cNvSpPr>
                <a:spLocks/>
              </p:cNvSpPr>
              <p:nvPr/>
            </p:nvSpPr>
            <p:spPr bwMode="auto">
              <a:xfrm>
                <a:off x="3575" y="1442"/>
                <a:ext cx="113" cy="90"/>
              </a:xfrm>
              <a:custGeom>
                <a:avLst/>
                <a:gdLst>
                  <a:gd name="T0" fmla="*/ 0 w 64"/>
                  <a:gd name="T1" fmla="*/ 0 h 51"/>
                  <a:gd name="T2" fmla="*/ 3 w 64"/>
                  <a:gd name="T3" fmla="*/ 23 h 51"/>
                  <a:gd name="T4" fmla="*/ 64 w 64"/>
                  <a:gd name="T5" fmla="*/ 51 h 51"/>
                  <a:gd name="T6" fmla="*/ 62 w 64"/>
                  <a:gd name="T7" fmla="*/ 0 h 51"/>
                  <a:gd name="T8" fmla="*/ 0 w 64"/>
                  <a:gd name="T9" fmla="*/ 0 h 51"/>
                </a:gdLst>
                <a:ahLst/>
                <a:cxnLst>
                  <a:cxn ang="0">
                    <a:pos x="T0" y="T1"/>
                  </a:cxn>
                  <a:cxn ang="0">
                    <a:pos x="T2" y="T3"/>
                  </a:cxn>
                  <a:cxn ang="0">
                    <a:pos x="T4" y="T5"/>
                  </a:cxn>
                  <a:cxn ang="0">
                    <a:pos x="T6" y="T7"/>
                  </a:cxn>
                  <a:cxn ang="0">
                    <a:pos x="T8" y="T9"/>
                  </a:cxn>
                </a:cxnLst>
                <a:rect l="0" t="0" r="r" b="b"/>
                <a:pathLst>
                  <a:path w="64" h="51">
                    <a:moveTo>
                      <a:pt x="0" y="0"/>
                    </a:moveTo>
                    <a:cubicBezTo>
                      <a:pt x="2" y="8"/>
                      <a:pt x="3" y="16"/>
                      <a:pt x="3" y="23"/>
                    </a:cubicBezTo>
                    <a:cubicBezTo>
                      <a:pt x="18" y="36"/>
                      <a:pt x="43" y="45"/>
                      <a:pt x="64" y="51"/>
                    </a:cubicBezTo>
                    <a:cubicBezTo>
                      <a:pt x="57" y="41"/>
                      <a:pt x="57" y="20"/>
                      <a:pt x="62" y="0"/>
                    </a:cubicBezTo>
                    <a:lnTo>
                      <a:pt x="0" y="0"/>
                    </a:lnTo>
                    <a:close/>
                  </a:path>
                </a:pathLst>
              </a:custGeom>
              <a:solidFill>
                <a:srgbClr val="F0BC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2" name="Freeform 51"/>
              <p:cNvSpPr>
                <a:spLocks/>
              </p:cNvSpPr>
              <p:nvPr/>
            </p:nvSpPr>
            <p:spPr bwMode="auto">
              <a:xfrm>
                <a:off x="3513" y="1184"/>
                <a:ext cx="237" cy="306"/>
              </a:xfrm>
              <a:custGeom>
                <a:avLst/>
                <a:gdLst>
                  <a:gd name="T0" fmla="*/ 123 w 134"/>
                  <a:gd name="T1" fmla="*/ 75 h 173"/>
                  <a:gd name="T2" fmla="*/ 132 w 134"/>
                  <a:gd name="T3" fmla="*/ 82 h 173"/>
                  <a:gd name="T4" fmla="*/ 125 w 134"/>
                  <a:gd name="T5" fmla="*/ 108 h 173"/>
                  <a:gd name="T6" fmla="*/ 116 w 134"/>
                  <a:gd name="T7" fmla="*/ 117 h 173"/>
                  <a:gd name="T8" fmla="*/ 107 w 134"/>
                  <a:gd name="T9" fmla="*/ 138 h 173"/>
                  <a:gd name="T10" fmla="*/ 89 w 134"/>
                  <a:gd name="T11" fmla="*/ 160 h 173"/>
                  <a:gd name="T12" fmla="*/ 67 w 134"/>
                  <a:gd name="T13" fmla="*/ 173 h 173"/>
                  <a:gd name="T14" fmla="*/ 44 w 134"/>
                  <a:gd name="T15" fmla="*/ 159 h 173"/>
                  <a:gd name="T16" fmla="*/ 29 w 134"/>
                  <a:gd name="T17" fmla="*/ 142 h 173"/>
                  <a:gd name="T18" fmla="*/ 18 w 134"/>
                  <a:gd name="T19" fmla="*/ 117 h 173"/>
                  <a:gd name="T20" fmla="*/ 9 w 134"/>
                  <a:gd name="T21" fmla="*/ 108 h 173"/>
                  <a:gd name="T22" fmla="*/ 2 w 134"/>
                  <a:gd name="T23" fmla="*/ 82 h 173"/>
                  <a:gd name="T24" fmla="*/ 10 w 134"/>
                  <a:gd name="T25" fmla="*/ 73 h 173"/>
                  <a:gd name="T26" fmla="*/ 12 w 134"/>
                  <a:gd name="T27" fmla="*/ 46 h 173"/>
                  <a:gd name="T28" fmla="*/ 67 w 134"/>
                  <a:gd name="T29" fmla="*/ 0 h 173"/>
                  <a:gd name="T30" fmla="*/ 122 w 134"/>
                  <a:gd name="T31" fmla="*/ 51 h 173"/>
                  <a:gd name="T32" fmla="*/ 123 w 134"/>
                  <a:gd name="T33" fmla="*/ 7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73">
                    <a:moveTo>
                      <a:pt x="123" y="75"/>
                    </a:moveTo>
                    <a:cubicBezTo>
                      <a:pt x="128" y="67"/>
                      <a:pt x="134" y="73"/>
                      <a:pt x="132" y="82"/>
                    </a:cubicBezTo>
                    <a:cubicBezTo>
                      <a:pt x="131" y="90"/>
                      <a:pt x="127" y="99"/>
                      <a:pt x="125" y="108"/>
                    </a:cubicBezTo>
                    <a:cubicBezTo>
                      <a:pt x="124" y="114"/>
                      <a:pt x="122" y="118"/>
                      <a:pt x="116" y="117"/>
                    </a:cubicBezTo>
                    <a:cubicBezTo>
                      <a:pt x="114" y="125"/>
                      <a:pt x="111" y="131"/>
                      <a:pt x="107" y="138"/>
                    </a:cubicBezTo>
                    <a:cubicBezTo>
                      <a:pt x="101" y="148"/>
                      <a:pt x="96" y="154"/>
                      <a:pt x="89" y="160"/>
                    </a:cubicBezTo>
                    <a:cubicBezTo>
                      <a:pt x="79" y="168"/>
                      <a:pt x="73" y="173"/>
                      <a:pt x="67" y="173"/>
                    </a:cubicBezTo>
                    <a:cubicBezTo>
                      <a:pt x="61" y="173"/>
                      <a:pt x="55" y="168"/>
                      <a:pt x="44" y="159"/>
                    </a:cubicBezTo>
                    <a:cubicBezTo>
                      <a:pt x="39" y="154"/>
                      <a:pt x="34" y="149"/>
                      <a:pt x="29" y="142"/>
                    </a:cubicBezTo>
                    <a:cubicBezTo>
                      <a:pt x="24" y="134"/>
                      <a:pt x="20" y="127"/>
                      <a:pt x="18" y="117"/>
                    </a:cubicBezTo>
                    <a:cubicBezTo>
                      <a:pt x="13" y="118"/>
                      <a:pt x="11" y="114"/>
                      <a:pt x="9" y="108"/>
                    </a:cubicBezTo>
                    <a:cubicBezTo>
                      <a:pt x="7" y="99"/>
                      <a:pt x="4" y="90"/>
                      <a:pt x="2" y="82"/>
                    </a:cubicBezTo>
                    <a:cubicBezTo>
                      <a:pt x="0" y="74"/>
                      <a:pt x="5" y="68"/>
                      <a:pt x="10" y="73"/>
                    </a:cubicBezTo>
                    <a:cubicBezTo>
                      <a:pt x="10" y="65"/>
                      <a:pt x="10" y="57"/>
                      <a:pt x="12" y="46"/>
                    </a:cubicBezTo>
                    <a:cubicBezTo>
                      <a:pt x="17" y="14"/>
                      <a:pt x="33" y="0"/>
                      <a:pt x="67" y="0"/>
                    </a:cubicBezTo>
                    <a:cubicBezTo>
                      <a:pt x="98" y="0"/>
                      <a:pt x="117" y="22"/>
                      <a:pt x="122" y="51"/>
                    </a:cubicBezTo>
                    <a:cubicBezTo>
                      <a:pt x="123" y="59"/>
                      <a:pt x="123" y="67"/>
                      <a:pt x="123" y="75"/>
                    </a:cubicBez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3" name="Freeform 52"/>
              <p:cNvSpPr>
                <a:spLocks/>
              </p:cNvSpPr>
              <p:nvPr/>
            </p:nvSpPr>
            <p:spPr bwMode="auto">
              <a:xfrm>
                <a:off x="3494" y="1159"/>
                <a:ext cx="271" cy="194"/>
              </a:xfrm>
              <a:custGeom>
                <a:avLst/>
                <a:gdLst>
                  <a:gd name="T0" fmla="*/ 24 w 153"/>
                  <a:gd name="T1" fmla="*/ 108 h 110"/>
                  <a:gd name="T2" fmla="*/ 111 w 153"/>
                  <a:gd name="T3" fmla="*/ 39 h 110"/>
                  <a:gd name="T4" fmla="*/ 133 w 153"/>
                  <a:gd name="T5" fmla="*/ 110 h 110"/>
                  <a:gd name="T6" fmla="*/ 79 w 153"/>
                  <a:gd name="T7" fmla="*/ 0 h 110"/>
                  <a:gd name="T8" fmla="*/ 24 w 153"/>
                  <a:gd name="T9" fmla="*/ 108 h 110"/>
                </a:gdLst>
                <a:ahLst/>
                <a:cxnLst>
                  <a:cxn ang="0">
                    <a:pos x="T0" y="T1"/>
                  </a:cxn>
                  <a:cxn ang="0">
                    <a:pos x="T2" y="T3"/>
                  </a:cxn>
                  <a:cxn ang="0">
                    <a:pos x="T4" y="T5"/>
                  </a:cxn>
                  <a:cxn ang="0">
                    <a:pos x="T6" y="T7"/>
                  </a:cxn>
                  <a:cxn ang="0">
                    <a:pos x="T8" y="T9"/>
                  </a:cxn>
                </a:cxnLst>
                <a:rect l="0" t="0" r="r" b="b"/>
                <a:pathLst>
                  <a:path w="153" h="110">
                    <a:moveTo>
                      <a:pt x="24" y="108"/>
                    </a:moveTo>
                    <a:cubicBezTo>
                      <a:pt x="29" y="75"/>
                      <a:pt x="96" y="85"/>
                      <a:pt x="111" y="39"/>
                    </a:cubicBezTo>
                    <a:cubicBezTo>
                      <a:pt x="131" y="48"/>
                      <a:pt x="133" y="87"/>
                      <a:pt x="133" y="110"/>
                    </a:cubicBezTo>
                    <a:cubicBezTo>
                      <a:pt x="153" y="60"/>
                      <a:pt x="140" y="0"/>
                      <a:pt x="79" y="0"/>
                    </a:cubicBezTo>
                    <a:cubicBezTo>
                      <a:pt x="17" y="1"/>
                      <a:pt x="0" y="63"/>
                      <a:pt x="24" y="108"/>
                    </a:cubicBez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4" name="Freeform 53"/>
              <p:cNvSpPr>
                <a:spLocks/>
              </p:cNvSpPr>
              <p:nvPr/>
            </p:nvSpPr>
            <p:spPr bwMode="auto">
              <a:xfrm>
                <a:off x="3447" y="1546"/>
                <a:ext cx="364" cy="488"/>
              </a:xfrm>
              <a:custGeom>
                <a:avLst/>
                <a:gdLst>
                  <a:gd name="T0" fmla="*/ 183 w 205"/>
                  <a:gd name="T1" fmla="*/ 146 h 276"/>
                  <a:gd name="T2" fmla="*/ 170 w 205"/>
                  <a:gd name="T3" fmla="*/ 213 h 276"/>
                  <a:gd name="T4" fmla="*/ 193 w 205"/>
                  <a:gd name="T5" fmla="*/ 276 h 276"/>
                  <a:gd name="T6" fmla="*/ 15 w 205"/>
                  <a:gd name="T7" fmla="*/ 276 h 276"/>
                  <a:gd name="T8" fmla="*/ 38 w 205"/>
                  <a:gd name="T9" fmla="*/ 213 h 276"/>
                  <a:gd name="T10" fmla="*/ 19 w 205"/>
                  <a:gd name="T11" fmla="*/ 97 h 276"/>
                  <a:gd name="T12" fmla="*/ 0 w 205"/>
                  <a:gd name="T13" fmla="*/ 17 h 276"/>
                  <a:gd name="T14" fmla="*/ 24 w 205"/>
                  <a:gd name="T15" fmla="*/ 4 h 276"/>
                  <a:gd name="T16" fmla="*/ 43 w 205"/>
                  <a:gd name="T17" fmla="*/ 3 h 276"/>
                  <a:gd name="T18" fmla="*/ 53 w 205"/>
                  <a:gd name="T19" fmla="*/ 1 h 276"/>
                  <a:gd name="T20" fmla="*/ 151 w 205"/>
                  <a:gd name="T21" fmla="*/ 1 h 276"/>
                  <a:gd name="T22" fmla="*/ 152 w 205"/>
                  <a:gd name="T23" fmla="*/ 0 h 276"/>
                  <a:gd name="T24" fmla="*/ 164 w 205"/>
                  <a:gd name="T25" fmla="*/ 2 h 276"/>
                  <a:gd name="T26" fmla="*/ 185 w 205"/>
                  <a:gd name="T27" fmla="*/ 4 h 276"/>
                  <a:gd name="T28" fmla="*/ 205 w 205"/>
                  <a:gd name="T29" fmla="*/ 16 h 276"/>
                  <a:gd name="T30" fmla="*/ 190 w 205"/>
                  <a:gd name="T31" fmla="*/ 107 h 276"/>
                  <a:gd name="T32" fmla="*/ 184 w 205"/>
                  <a:gd name="T33" fmla="*/ 139 h 276"/>
                  <a:gd name="T34" fmla="*/ 183 w 205"/>
                  <a:gd name="T35"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5" h="276">
                    <a:moveTo>
                      <a:pt x="183" y="146"/>
                    </a:moveTo>
                    <a:cubicBezTo>
                      <a:pt x="170" y="213"/>
                      <a:pt x="170" y="213"/>
                      <a:pt x="170" y="213"/>
                    </a:cubicBezTo>
                    <a:cubicBezTo>
                      <a:pt x="175" y="224"/>
                      <a:pt x="185" y="256"/>
                      <a:pt x="193" y="276"/>
                    </a:cubicBezTo>
                    <a:cubicBezTo>
                      <a:pt x="15" y="276"/>
                      <a:pt x="15" y="276"/>
                      <a:pt x="15" y="276"/>
                    </a:cubicBezTo>
                    <a:cubicBezTo>
                      <a:pt x="24" y="256"/>
                      <a:pt x="33" y="224"/>
                      <a:pt x="38" y="213"/>
                    </a:cubicBezTo>
                    <a:cubicBezTo>
                      <a:pt x="28" y="170"/>
                      <a:pt x="24" y="139"/>
                      <a:pt x="19" y="97"/>
                    </a:cubicBezTo>
                    <a:cubicBezTo>
                      <a:pt x="18" y="89"/>
                      <a:pt x="6" y="29"/>
                      <a:pt x="0" y="17"/>
                    </a:cubicBezTo>
                    <a:cubicBezTo>
                      <a:pt x="4" y="11"/>
                      <a:pt x="14" y="6"/>
                      <a:pt x="24" y="4"/>
                    </a:cubicBezTo>
                    <a:cubicBezTo>
                      <a:pt x="25" y="4"/>
                      <a:pt x="34" y="4"/>
                      <a:pt x="43" y="3"/>
                    </a:cubicBezTo>
                    <a:cubicBezTo>
                      <a:pt x="46" y="2"/>
                      <a:pt x="49" y="1"/>
                      <a:pt x="53" y="1"/>
                    </a:cubicBezTo>
                    <a:cubicBezTo>
                      <a:pt x="72" y="42"/>
                      <a:pt x="132" y="42"/>
                      <a:pt x="151" y="1"/>
                    </a:cubicBezTo>
                    <a:cubicBezTo>
                      <a:pt x="152" y="1"/>
                      <a:pt x="152" y="0"/>
                      <a:pt x="152" y="0"/>
                    </a:cubicBezTo>
                    <a:cubicBezTo>
                      <a:pt x="156" y="1"/>
                      <a:pt x="160" y="2"/>
                      <a:pt x="164" y="2"/>
                    </a:cubicBezTo>
                    <a:cubicBezTo>
                      <a:pt x="174" y="4"/>
                      <a:pt x="184" y="4"/>
                      <a:pt x="185" y="4"/>
                    </a:cubicBezTo>
                    <a:cubicBezTo>
                      <a:pt x="194" y="6"/>
                      <a:pt x="201" y="10"/>
                      <a:pt x="205" y="16"/>
                    </a:cubicBezTo>
                    <a:cubicBezTo>
                      <a:pt x="197" y="43"/>
                      <a:pt x="191" y="81"/>
                      <a:pt x="190" y="107"/>
                    </a:cubicBezTo>
                    <a:cubicBezTo>
                      <a:pt x="184" y="139"/>
                      <a:pt x="184" y="139"/>
                      <a:pt x="184" y="139"/>
                    </a:cubicBezTo>
                    <a:lnTo>
                      <a:pt x="183" y="146"/>
                    </a:ln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5" name="Freeform 54"/>
              <p:cNvSpPr>
                <a:spLocks/>
              </p:cNvSpPr>
              <p:nvPr/>
            </p:nvSpPr>
            <p:spPr bwMode="auto">
              <a:xfrm>
                <a:off x="3665" y="1546"/>
                <a:ext cx="146" cy="488"/>
              </a:xfrm>
              <a:custGeom>
                <a:avLst/>
                <a:gdLst>
                  <a:gd name="T0" fmla="*/ 60 w 82"/>
                  <a:gd name="T1" fmla="*/ 146 h 276"/>
                  <a:gd name="T2" fmla="*/ 47 w 82"/>
                  <a:gd name="T3" fmla="*/ 213 h 276"/>
                  <a:gd name="T4" fmla="*/ 70 w 82"/>
                  <a:gd name="T5" fmla="*/ 276 h 276"/>
                  <a:gd name="T6" fmla="*/ 22 w 82"/>
                  <a:gd name="T7" fmla="*/ 276 h 276"/>
                  <a:gd name="T8" fmla="*/ 13 w 82"/>
                  <a:gd name="T9" fmla="*/ 245 h 276"/>
                  <a:gd name="T10" fmla="*/ 16 w 82"/>
                  <a:gd name="T11" fmla="*/ 171 h 276"/>
                  <a:gd name="T12" fmla="*/ 0 w 82"/>
                  <a:gd name="T13" fmla="*/ 157 h 276"/>
                  <a:gd name="T14" fmla="*/ 17 w 82"/>
                  <a:gd name="T15" fmla="*/ 133 h 276"/>
                  <a:gd name="T16" fmla="*/ 30 w 82"/>
                  <a:gd name="T17" fmla="*/ 0 h 276"/>
                  <a:gd name="T18" fmla="*/ 41 w 82"/>
                  <a:gd name="T19" fmla="*/ 2 h 276"/>
                  <a:gd name="T20" fmla="*/ 62 w 82"/>
                  <a:gd name="T21" fmla="*/ 5 h 276"/>
                  <a:gd name="T22" fmla="*/ 82 w 82"/>
                  <a:gd name="T23" fmla="*/ 16 h 276"/>
                  <a:gd name="T24" fmla="*/ 67 w 82"/>
                  <a:gd name="T25" fmla="*/ 107 h 276"/>
                  <a:gd name="T26" fmla="*/ 61 w 82"/>
                  <a:gd name="T27" fmla="*/ 139 h 276"/>
                  <a:gd name="T28" fmla="*/ 60 w 82"/>
                  <a:gd name="T29" fmla="*/ 14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276">
                    <a:moveTo>
                      <a:pt x="60" y="146"/>
                    </a:moveTo>
                    <a:cubicBezTo>
                      <a:pt x="47" y="213"/>
                      <a:pt x="47" y="213"/>
                      <a:pt x="47" y="213"/>
                    </a:cubicBezTo>
                    <a:cubicBezTo>
                      <a:pt x="52" y="224"/>
                      <a:pt x="62" y="256"/>
                      <a:pt x="70" y="276"/>
                    </a:cubicBezTo>
                    <a:cubicBezTo>
                      <a:pt x="22" y="276"/>
                      <a:pt x="22" y="276"/>
                      <a:pt x="22" y="276"/>
                    </a:cubicBezTo>
                    <a:cubicBezTo>
                      <a:pt x="19" y="267"/>
                      <a:pt x="16" y="257"/>
                      <a:pt x="13" y="245"/>
                    </a:cubicBezTo>
                    <a:cubicBezTo>
                      <a:pt x="9" y="231"/>
                      <a:pt x="11" y="206"/>
                      <a:pt x="16" y="171"/>
                    </a:cubicBezTo>
                    <a:cubicBezTo>
                      <a:pt x="0" y="157"/>
                      <a:pt x="0" y="157"/>
                      <a:pt x="0" y="157"/>
                    </a:cubicBezTo>
                    <a:cubicBezTo>
                      <a:pt x="10" y="148"/>
                      <a:pt x="14" y="146"/>
                      <a:pt x="17" y="133"/>
                    </a:cubicBezTo>
                    <a:cubicBezTo>
                      <a:pt x="26" y="95"/>
                      <a:pt x="23" y="43"/>
                      <a:pt x="30" y="0"/>
                    </a:cubicBezTo>
                    <a:cubicBezTo>
                      <a:pt x="34" y="1"/>
                      <a:pt x="37" y="2"/>
                      <a:pt x="41" y="2"/>
                    </a:cubicBezTo>
                    <a:cubicBezTo>
                      <a:pt x="51" y="4"/>
                      <a:pt x="61" y="4"/>
                      <a:pt x="62" y="5"/>
                    </a:cubicBezTo>
                    <a:cubicBezTo>
                      <a:pt x="71" y="6"/>
                      <a:pt x="78" y="10"/>
                      <a:pt x="82" y="16"/>
                    </a:cubicBezTo>
                    <a:cubicBezTo>
                      <a:pt x="74" y="43"/>
                      <a:pt x="68" y="81"/>
                      <a:pt x="67" y="107"/>
                    </a:cubicBezTo>
                    <a:cubicBezTo>
                      <a:pt x="61" y="139"/>
                      <a:pt x="61" y="139"/>
                      <a:pt x="61" y="139"/>
                    </a:cubicBezTo>
                    <a:lnTo>
                      <a:pt x="60" y="146"/>
                    </a:ln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6" name="Freeform 55"/>
              <p:cNvSpPr>
                <a:spLocks/>
              </p:cNvSpPr>
              <p:nvPr/>
            </p:nvSpPr>
            <p:spPr bwMode="auto">
              <a:xfrm>
                <a:off x="3626" y="1995"/>
                <a:ext cx="202" cy="1115"/>
              </a:xfrm>
              <a:custGeom>
                <a:avLst/>
                <a:gdLst>
                  <a:gd name="T0" fmla="*/ 15 w 114"/>
                  <a:gd name="T1" fmla="*/ 630 h 630"/>
                  <a:gd name="T2" fmla="*/ 8 w 114"/>
                  <a:gd name="T3" fmla="*/ 626 h 630"/>
                  <a:gd name="T4" fmla="*/ 8 w 114"/>
                  <a:gd name="T5" fmla="*/ 625 h 630"/>
                  <a:gd name="T6" fmla="*/ 6 w 114"/>
                  <a:gd name="T7" fmla="*/ 609 h 630"/>
                  <a:gd name="T8" fmla="*/ 7 w 114"/>
                  <a:gd name="T9" fmla="*/ 598 h 630"/>
                  <a:gd name="T10" fmla="*/ 7 w 114"/>
                  <a:gd name="T11" fmla="*/ 573 h 630"/>
                  <a:gd name="T12" fmla="*/ 8 w 114"/>
                  <a:gd name="T13" fmla="*/ 566 h 630"/>
                  <a:gd name="T14" fmla="*/ 10 w 114"/>
                  <a:gd name="T15" fmla="*/ 484 h 630"/>
                  <a:gd name="T16" fmla="*/ 10 w 114"/>
                  <a:gd name="T17" fmla="*/ 437 h 630"/>
                  <a:gd name="T18" fmla="*/ 11 w 114"/>
                  <a:gd name="T19" fmla="*/ 390 h 630"/>
                  <a:gd name="T20" fmla="*/ 8 w 114"/>
                  <a:gd name="T21" fmla="*/ 352 h 630"/>
                  <a:gd name="T22" fmla="*/ 7 w 114"/>
                  <a:gd name="T23" fmla="*/ 329 h 630"/>
                  <a:gd name="T24" fmla="*/ 6 w 114"/>
                  <a:gd name="T25" fmla="*/ 152 h 630"/>
                  <a:gd name="T26" fmla="*/ 3 w 114"/>
                  <a:gd name="T27" fmla="*/ 134 h 630"/>
                  <a:gd name="T28" fmla="*/ 0 w 114"/>
                  <a:gd name="T29" fmla="*/ 134 h 630"/>
                  <a:gd name="T30" fmla="*/ 7 w 114"/>
                  <a:gd name="T31" fmla="*/ 0 h 630"/>
                  <a:gd name="T32" fmla="*/ 83 w 114"/>
                  <a:gd name="T33" fmla="*/ 0 h 630"/>
                  <a:gd name="T34" fmla="*/ 89 w 114"/>
                  <a:gd name="T35" fmla="*/ 11 h 630"/>
                  <a:gd name="T36" fmla="*/ 106 w 114"/>
                  <a:gd name="T37" fmla="*/ 46 h 630"/>
                  <a:gd name="T38" fmla="*/ 113 w 114"/>
                  <a:gd name="T39" fmla="*/ 105 h 630"/>
                  <a:gd name="T40" fmla="*/ 113 w 114"/>
                  <a:gd name="T41" fmla="*/ 124 h 630"/>
                  <a:gd name="T42" fmla="*/ 112 w 114"/>
                  <a:gd name="T43" fmla="*/ 170 h 630"/>
                  <a:gd name="T44" fmla="*/ 77 w 114"/>
                  <a:gd name="T45" fmla="*/ 505 h 630"/>
                  <a:gd name="T46" fmla="*/ 71 w 114"/>
                  <a:gd name="T47" fmla="*/ 569 h 630"/>
                  <a:gd name="T48" fmla="*/ 69 w 114"/>
                  <a:gd name="T49" fmla="*/ 618 h 630"/>
                  <a:gd name="T50" fmla="*/ 58 w 114"/>
                  <a:gd name="T51" fmla="*/ 624 h 630"/>
                  <a:gd name="T52" fmla="*/ 32 w 114"/>
                  <a:gd name="T53" fmla="*/ 630 h 630"/>
                  <a:gd name="T54" fmla="*/ 15 w 114"/>
                  <a:gd name="T55"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630">
                    <a:moveTo>
                      <a:pt x="15" y="630"/>
                    </a:moveTo>
                    <a:cubicBezTo>
                      <a:pt x="8" y="626"/>
                      <a:pt x="8" y="626"/>
                      <a:pt x="8" y="626"/>
                    </a:cubicBezTo>
                    <a:cubicBezTo>
                      <a:pt x="8" y="625"/>
                      <a:pt x="8" y="625"/>
                      <a:pt x="8" y="625"/>
                    </a:cubicBezTo>
                    <a:cubicBezTo>
                      <a:pt x="8" y="621"/>
                      <a:pt x="6" y="614"/>
                      <a:pt x="6" y="609"/>
                    </a:cubicBezTo>
                    <a:cubicBezTo>
                      <a:pt x="7" y="606"/>
                      <a:pt x="7" y="601"/>
                      <a:pt x="7" y="598"/>
                    </a:cubicBezTo>
                    <a:cubicBezTo>
                      <a:pt x="8" y="591"/>
                      <a:pt x="7" y="578"/>
                      <a:pt x="7" y="573"/>
                    </a:cubicBezTo>
                    <a:cubicBezTo>
                      <a:pt x="8" y="566"/>
                      <a:pt x="8" y="566"/>
                      <a:pt x="8" y="566"/>
                    </a:cubicBezTo>
                    <a:cubicBezTo>
                      <a:pt x="10" y="531"/>
                      <a:pt x="12" y="512"/>
                      <a:pt x="10" y="484"/>
                    </a:cubicBezTo>
                    <a:cubicBezTo>
                      <a:pt x="10" y="470"/>
                      <a:pt x="10" y="455"/>
                      <a:pt x="10" y="437"/>
                    </a:cubicBezTo>
                    <a:cubicBezTo>
                      <a:pt x="9" y="416"/>
                      <a:pt x="11" y="399"/>
                      <a:pt x="11" y="390"/>
                    </a:cubicBezTo>
                    <a:cubicBezTo>
                      <a:pt x="10" y="377"/>
                      <a:pt x="9" y="373"/>
                      <a:pt x="8" y="352"/>
                    </a:cubicBezTo>
                    <a:cubicBezTo>
                      <a:pt x="7" y="329"/>
                      <a:pt x="7" y="329"/>
                      <a:pt x="7" y="329"/>
                    </a:cubicBezTo>
                    <a:cubicBezTo>
                      <a:pt x="6" y="292"/>
                      <a:pt x="5" y="205"/>
                      <a:pt x="6" y="152"/>
                    </a:cubicBezTo>
                    <a:cubicBezTo>
                      <a:pt x="6" y="140"/>
                      <a:pt x="3" y="143"/>
                      <a:pt x="3" y="134"/>
                    </a:cubicBezTo>
                    <a:cubicBezTo>
                      <a:pt x="0" y="134"/>
                      <a:pt x="0" y="134"/>
                      <a:pt x="0" y="134"/>
                    </a:cubicBezTo>
                    <a:cubicBezTo>
                      <a:pt x="7" y="0"/>
                      <a:pt x="7" y="0"/>
                      <a:pt x="7" y="0"/>
                    </a:cubicBezTo>
                    <a:cubicBezTo>
                      <a:pt x="83" y="0"/>
                      <a:pt x="83" y="0"/>
                      <a:pt x="83" y="0"/>
                    </a:cubicBezTo>
                    <a:cubicBezTo>
                      <a:pt x="89" y="11"/>
                      <a:pt x="89" y="11"/>
                      <a:pt x="89" y="11"/>
                    </a:cubicBezTo>
                    <a:cubicBezTo>
                      <a:pt x="93" y="27"/>
                      <a:pt x="101" y="27"/>
                      <a:pt x="106" y="46"/>
                    </a:cubicBezTo>
                    <a:cubicBezTo>
                      <a:pt x="112" y="74"/>
                      <a:pt x="113" y="92"/>
                      <a:pt x="113" y="105"/>
                    </a:cubicBezTo>
                    <a:cubicBezTo>
                      <a:pt x="112" y="109"/>
                      <a:pt x="113" y="117"/>
                      <a:pt x="113" y="124"/>
                    </a:cubicBezTo>
                    <a:cubicBezTo>
                      <a:pt x="114" y="138"/>
                      <a:pt x="114" y="147"/>
                      <a:pt x="112" y="170"/>
                    </a:cubicBezTo>
                    <a:cubicBezTo>
                      <a:pt x="107" y="211"/>
                      <a:pt x="84" y="453"/>
                      <a:pt x="77" y="505"/>
                    </a:cubicBezTo>
                    <a:cubicBezTo>
                      <a:pt x="74" y="530"/>
                      <a:pt x="71" y="569"/>
                      <a:pt x="71" y="569"/>
                    </a:cubicBezTo>
                    <a:cubicBezTo>
                      <a:pt x="66" y="587"/>
                      <a:pt x="75" y="598"/>
                      <a:pt x="69" y="618"/>
                    </a:cubicBezTo>
                    <a:cubicBezTo>
                      <a:pt x="58" y="624"/>
                      <a:pt x="58" y="624"/>
                      <a:pt x="58" y="624"/>
                    </a:cubicBezTo>
                    <a:cubicBezTo>
                      <a:pt x="50" y="628"/>
                      <a:pt x="41" y="630"/>
                      <a:pt x="32" y="630"/>
                    </a:cubicBezTo>
                    <a:lnTo>
                      <a:pt x="15" y="63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7" name="Freeform 56"/>
              <p:cNvSpPr>
                <a:spLocks/>
              </p:cNvSpPr>
              <p:nvPr/>
            </p:nvSpPr>
            <p:spPr bwMode="auto">
              <a:xfrm>
                <a:off x="3440" y="1995"/>
                <a:ext cx="218" cy="1113"/>
              </a:xfrm>
              <a:custGeom>
                <a:avLst/>
                <a:gdLst>
                  <a:gd name="T0" fmla="*/ 47 w 123"/>
                  <a:gd name="T1" fmla="*/ 618 h 629"/>
                  <a:gd name="T2" fmla="*/ 45 w 123"/>
                  <a:gd name="T3" fmla="*/ 607 h 629"/>
                  <a:gd name="T4" fmla="*/ 46 w 123"/>
                  <a:gd name="T5" fmla="*/ 553 h 629"/>
                  <a:gd name="T6" fmla="*/ 39 w 123"/>
                  <a:gd name="T7" fmla="*/ 499 h 629"/>
                  <a:gd name="T8" fmla="*/ 2 w 123"/>
                  <a:gd name="T9" fmla="*/ 189 h 629"/>
                  <a:gd name="T10" fmla="*/ 1 w 123"/>
                  <a:gd name="T11" fmla="*/ 131 h 629"/>
                  <a:gd name="T12" fmla="*/ 2 w 123"/>
                  <a:gd name="T13" fmla="*/ 90 h 629"/>
                  <a:gd name="T14" fmla="*/ 15 w 123"/>
                  <a:gd name="T15" fmla="*/ 38 h 629"/>
                  <a:gd name="T16" fmla="*/ 27 w 123"/>
                  <a:gd name="T17" fmla="*/ 11 h 629"/>
                  <a:gd name="T18" fmla="*/ 32 w 123"/>
                  <a:gd name="T19" fmla="*/ 1 h 629"/>
                  <a:gd name="T20" fmla="*/ 123 w 123"/>
                  <a:gd name="T21" fmla="*/ 0 h 629"/>
                  <a:gd name="T22" fmla="*/ 123 w 123"/>
                  <a:gd name="T23" fmla="*/ 38 h 629"/>
                  <a:gd name="T24" fmla="*/ 112 w 123"/>
                  <a:gd name="T25" fmla="*/ 133 h 629"/>
                  <a:gd name="T26" fmla="*/ 113 w 123"/>
                  <a:gd name="T27" fmla="*/ 167 h 629"/>
                  <a:gd name="T28" fmla="*/ 107 w 123"/>
                  <a:gd name="T29" fmla="*/ 325 h 629"/>
                  <a:gd name="T30" fmla="*/ 109 w 123"/>
                  <a:gd name="T31" fmla="*/ 430 h 629"/>
                  <a:gd name="T32" fmla="*/ 111 w 123"/>
                  <a:gd name="T33" fmla="*/ 496 h 629"/>
                  <a:gd name="T34" fmla="*/ 114 w 123"/>
                  <a:gd name="T35" fmla="*/ 565 h 629"/>
                  <a:gd name="T36" fmla="*/ 114 w 123"/>
                  <a:gd name="T37" fmla="*/ 572 h 629"/>
                  <a:gd name="T38" fmla="*/ 114 w 123"/>
                  <a:gd name="T39" fmla="*/ 593 h 629"/>
                  <a:gd name="T40" fmla="*/ 115 w 123"/>
                  <a:gd name="T41" fmla="*/ 602 h 629"/>
                  <a:gd name="T42" fmla="*/ 117 w 123"/>
                  <a:gd name="T43" fmla="*/ 613 h 629"/>
                  <a:gd name="T44" fmla="*/ 117 w 123"/>
                  <a:gd name="T45" fmla="*/ 615 h 629"/>
                  <a:gd name="T46" fmla="*/ 113 w 123"/>
                  <a:gd name="T47" fmla="*/ 627 h 629"/>
                  <a:gd name="T48" fmla="*/ 87 w 123"/>
                  <a:gd name="T49" fmla="*/ 628 h 629"/>
                  <a:gd name="T50" fmla="*/ 58 w 123"/>
                  <a:gd name="T51" fmla="*/ 621 h 629"/>
                  <a:gd name="T52" fmla="*/ 47 w 123"/>
                  <a:gd name="T53" fmla="*/ 618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629">
                    <a:moveTo>
                      <a:pt x="47" y="618"/>
                    </a:moveTo>
                    <a:cubicBezTo>
                      <a:pt x="45" y="607"/>
                      <a:pt x="45" y="607"/>
                      <a:pt x="45" y="607"/>
                    </a:cubicBezTo>
                    <a:cubicBezTo>
                      <a:pt x="43" y="585"/>
                      <a:pt x="46" y="553"/>
                      <a:pt x="46" y="553"/>
                    </a:cubicBezTo>
                    <a:cubicBezTo>
                      <a:pt x="47" y="549"/>
                      <a:pt x="43" y="520"/>
                      <a:pt x="39" y="499"/>
                    </a:cubicBezTo>
                    <a:cubicBezTo>
                      <a:pt x="36" y="479"/>
                      <a:pt x="7" y="230"/>
                      <a:pt x="2" y="189"/>
                    </a:cubicBezTo>
                    <a:cubicBezTo>
                      <a:pt x="0" y="165"/>
                      <a:pt x="0" y="145"/>
                      <a:pt x="1" y="131"/>
                    </a:cubicBezTo>
                    <a:cubicBezTo>
                      <a:pt x="1" y="124"/>
                      <a:pt x="2" y="103"/>
                      <a:pt x="2" y="90"/>
                    </a:cubicBezTo>
                    <a:cubicBezTo>
                      <a:pt x="2" y="77"/>
                      <a:pt x="6" y="61"/>
                      <a:pt x="15" y="38"/>
                    </a:cubicBezTo>
                    <a:cubicBezTo>
                      <a:pt x="23" y="20"/>
                      <a:pt x="20" y="27"/>
                      <a:pt x="27" y="11"/>
                    </a:cubicBezTo>
                    <a:cubicBezTo>
                      <a:pt x="32" y="1"/>
                      <a:pt x="32" y="1"/>
                      <a:pt x="32" y="1"/>
                    </a:cubicBezTo>
                    <a:cubicBezTo>
                      <a:pt x="123" y="0"/>
                      <a:pt x="123" y="0"/>
                      <a:pt x="123" y="0"/>
                    </a:cubicBezTo>
                    <a:cubicBezTo>
                      <a:pt x="123" y="38"/>
                      <a:pt x="123" y="38"/>
                      <a:pt x="123" y="38"/>
                    </a:cubicBezTo>
                    <a:cubicBezTo>
                      <a:pt x="112" y="133"/>
                      <a:pt x="112" y="133"/>
                      <a:pt x="112" y="133"/>
                    </a:cubicBezTo>
                    <a:cubicBezTo>
                      <a:pt x="112" y="143"/>
                      <a:pt x="112" y="154"/>
                      <a:pt x="113" y="167"/>
                    </a:cubicBezTo>
                    <a:cubicBezTo>
                      <a:pt x="113" y="219"/>
                      <a:pt x="108" y="288"/>
                      <a:pt x="107" y="325"/>
                    </a:cubicBezTo>
                    <a:cubicBezTo>
                      <a:pt x="107" y="325"/>
                      <a:pt x="109" y="409"/>
                      <a:pt x="109" y="430"/>
                    </a:cubicBezTo>
                    <a:cubicBezTo>
                      <a:pt x="108" y="448"/>
                      <a:pt x="111" y="481"/>
                      <a:pt x="111" y="496"/>
                    </a:cubicBezTo>
                    <a:cubicBezTo>
                      <a:pt x="112" y="524"/>
                      <a:pt x="112" y="530"/>
                      <a:pt x="114" y="565"/>
                    </a:cubicBezTo>
                    <a:cubicBezTo>
                      <a:pt x="114" y="572"/>
                      <a:pt x="114" y="572"/>
                      <a:pt x="114" y="572"/>
                    </a:cubicBezTo>
                    <a:cubicBezTo>
                      <a:pt x="115" y="577"/>
                      <a:pt x="113" y="586"/>
                      <a:pt x="114" y="593"/>
                    </a:cubicBezTo>
                    <a:cubicBezTo>
                      <a:pt x="114" y="596"/>
                      <a:pt x="115" y="599"/>
                      <a:pt x="115" y="602"/>
                    </a:cubicBezTo>
                    <a:cubicBezTo>
                      <a:pt x="116" y="606"/>
                      <a:pt x="117" y="610"/>
                      <a:pt x="117" y="613"/>
                    </a:cubicBezTo>
                    <a:cubicBezTo>
                      <a:pt x="117" y="615"/>
                      <a:pt x="117" y="615"/>
                      <a:pt x="117" y="615"/>
                    </a:cubicBezTo>
                    <a:cubicBezTo>
                      <a:pt x="113" y="627"/>
                      <a:pt x="113" y="627"/>
                      <a:pt x="113" y="627"/>
                    </a:cubicBezTo>
                    <a:cubicBezTo>
                      <a:pt x="87" y="628"/>
                      <a:pt x="87" y="628"/>
                      <a:pt x="87" y="628"/>
                    </a:cubicBezTo>
                    <a:cubicBezTo>
                      <a:pt x="77" y="629"/>
                      <a:pt x="67" y="626"/>
                      <a:pt x="58" y="621"/>
                    </a:cubicBezTo>
                    <a:lnTo>
                      <a:pt x="47" y="618"/>
                    </a:lnTo>
                    <a:close/>
                  </a:path>
                </a:pathLst>
              </a:custGeom>
              <a:solidFill>
                <a:srgbClr val="364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8" name="Freeform 57"/>
              <p:cNvSpPr>
                <a:spLocks/>
              </p:cNvSpPr>
              <p:nvPr/>
            </p:nvSpPr>
            <p:spPr bwMode="auto">
              <a:xfrm>
                <a:off x="3362" y="1541"/>
                <a:ext cx="158" cy="260"/>
              </a:xfrm>
              <a:custGeom>
                <a:avLst/>
                <a:gdLst>
                  <a:gd name="T0" fmla="*/ 48 w 89"/>
                  <a:gd name="T1" fmla="*/ 20 h 147"/>
                  <a:gd name="T2" fmla="*/ 0 w 89"/>
                  <a:gd name="T3" fmla="*/ 104 h 147"/>
                  <a:gd name="T4" fmla="*/ 41 w 89"/>
                  <a:gd name="T5" fmla="*/ 147 h 147"/>
                  <a:gd name="T6" fmla="*/ 69 w 89"/>
                  <a:gd name="T7" fmla="*/ 100 h 147"/>
                  <a:gd name="T8" fmla="*/ 48 w 89"/>
                  <a:gd name="T9" fmla="*/ 20 h 147"/>
                </a:gdLst>
                <a:ahLst/>
                <a:cxnLst>
                  <a:cxn ang="0">
                    <a:pos x="T0" y="T1"/>
                  </a:cxn>
                  <a:cxn ang="0">
                    <a:pos x="T2" y="T3"/>
                  </a:cxn>
                  <a:cxn ang="0">
                    <a:pos x="T4" y="T5"/>
                  </a:cxn>
                  <a:cxn ang="0">
                    <a:pos x="T6" y="T7"/>
                  </a:cxn>
                  <a:cxn ang="0">
                    <a:pos x="T8" y="T9"/>
                  </a:cxn>
                </a:cxnLst>
                <a:rect l="0" t="0" r="r" b="b"/>
                <a:pathLst>
                  <a:path w="89" h="147">
                    <a:moveTo>
                      <a:pt x="48" y="20"/>
                    </a:moveTo>
                    <a:cubicBezTo>
                      <a:pt x="0" y="104"/>
                      <a:pt x="0" y="104"/>
                      <a:pt x="0" y="104"/>
                    </a:cubicBezTo>
                    <a:cubicBezTo>
                      <a:pt x="41" y="147"/>
                      <a:pt x="41" y="147"/>
                      <a:pt x="41" y="147"/>
                    </a:cubicBezTo>
                    <a:cubicBezTo>
                      <a:pt x="69" y="100"/>
                      <a:pt x="69" y="100"/>
                      <a:pt x="69" y="100"/>
                    </a:cubicBezTo>
                    <a:cubicBezTo>
                      <a:pt x="89" y="74"/>
                      <a:pt x="63" y="0"/>
                      <a:pt x="48" y="20"/>
                    </a:cubicBezTo>
                    <a:close/>
                  </a:path>
                </a:pathLst>
              </a:custGeom>
              <a:solidFill>
                <a:srgbClr val="60E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59" name="Freeform 58"/>
              <p:cNvSpPr>
                <a:spLocks/>
              </p:cNvSpPr>
              <p:nvPr/>
            </p:nvSpPr>
            <p:spPr bwMode="auto">
              <a:xfrm>
                <a:off x="3309" y="1728"/>
                <a:ext cx="264" cy="361"/>
              </a:xfrm>
              <a:custGeom>
                <a:avLst/>
                <a:gdLst>
                  <a:gd name="T0" fmla="*/ 32 w 149"/>
                  <a:gd name="T1" fmla="*/ 0 h 204"/>
                  <a:gd name="T2" fmla="*/ 8 w 149"/>
                  <a:gd name="T3" fmla="*/ 38 h 204"/>
                  <a:gd name="T4" fmla="*/ 5 w 149"/>
                  <a:gd name="T5" fmla="*/ 64 h 204"/>
                  <a:gd name="T6" fmla="*/ 30 w 149"/>
                  <a:gd name="T7" fmla="*/ 109 h 204"/>
                  <a:gd name="T8" fmla="*/ 60 w 149"/>
                  <a:gd name="T9" fmla="*/ 150 h 204"/>
                  <a:gd name="T10" fmla="*/ 71 w 149"/>
                  <a:gd name="T11" fmla="*/ 169 h 204"/>
                  <a:gd name="T12" fmla="*/ 91 w 149"/>
                  <a:gd name="T13" fmla="*/ 186 h 204"/>
                  <a:gd name="T14" fmla="*/ 104 w 149"/>
                  <a:gd name="T15" fmla="*/ 198 h 204"/>
                  <a:gd name="T16" fmla="*/ 112 w 149"/>
                  <a:gd name="T17" fmla="*/ 202 h 204"/>
                  <a:gd name="T18" fmla="*/ 109 w 149"/>
                  <a:gd name="T19" fmla="*/ 194 h 204"/>
                  <a:gd name="T20" fmla="*/ 102 w 149"/>
                  <a:gd name="T21" fmla="*/ 184 h 204"/>
                  <a:gd name="T22" fmla="*/ 102 w 149"/>
                  <a:gd name="T23" fmla="*/ 183 h 204"/>
                  <a:gd name="T24" fmla="*/ 121 w 149"/>
                  <a:gd name="T25" fmla="*/ 198 h 204"/>
                  <a:gd name="T26" fmla="*/ 127 w 149"/>
                  <a:gd name="T27" fmla="*/ 193 h 204"/>
                  <a:gd name="T28" fmla="*/ 108 w 149"/>
                  <a:gd name="T29" fmla="*/ 176 h 204"/>
                  <a:gd name="T30" fmla="*/ 108 w 149"/>
                  <a:gd name="T31" fmla="*/ 173 h 204"/>
                  <a:gd name="T32" fmla="*/ 132 w 149"/>
                  <a:gd name="T33" fmla="*/ 191 h 204"/>
                  <a:gd name="T34" fmla="*/ 137 w 149"/>
                  <a:gd name="T35" fmla="*/ 183 h 204"/>
                  <a:gd name="T36" fmla="*/ 116 w 149"/>
                  <a:gd name="T37" fmla="*/ 166 h 204"/>
                  <a:gd name="T38" fmla="*/ 117 w 149"/>
                  <a:gd name="T39" fmla="*/ 164 h 204"/>
                  <a:gd name="T40" fmla="*/ 131 w 149"/>
                  <a:gd name="T41" fmla="*/ 173 h 204"/>
                  <a:gd name="T42" fmla="*/ 140 w 149"/>
                  <a:gd name="T43" fmla="*/ 180 h 204"/>
                  <a:gd name="T44" fmla="*/ 144 w 149"/>
                  <a:gd name="T45" fmla="*/ 172 h 204"/>
                  <a:gd name="T46" fmla="*/ 127 w 149"/>
                  <a:gd name="T47" fmla="*/ 158 h 204"/>
                  <a:gd name="T48" fmla="*/ 104 w 149"/>
                  <a:gd name="T49" fmla="*/ 143 h 204"/>
                  <a:gd name="T50" fmla="*/ 106 w 149"/>
                  <a:gd name="T51" fmla="*/ 138 h 204"/>
                  <a:gd name="T52" fmla="*/ 89 w 149"/>
                  <a:gd name="T53" fmla="*/ 134 h 204"/>
                  <a:gd name="T54" fmla="*/ 74 w 149"/>
                  <a:gd name="T55" fmla="*/ 126 h 204"/>
                  <a:gd name="T56" fmla="*/ 45 w 149"/>
                  <a:gd name="T57" fmla="*/ 58 h 204"/>
                  <a:gd name="T58" fmla="*/ 62 w 149"/>
                  <a:gd name="T59" fmla="*/ 31 h 204"/>
                  <a:gd name="T60" fmla="*/ 32 w 149"/>
                  <a:gd name="T6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204">
                    <a:moveTo>
                      <a:pt x="32" y="0"/>
                    </a:moveTo>
                    <a:cubicBezTo>
                      <a:pt x="8" y="38"/>
                      <a:pt x="8" y="38"/>
                      <a:pt x="8" y="38"/>
                    </a:cubicBezTo>
                    <a:cubicBezTo>
                      <a:pt x="0" y="50"/>
                      <a:pt x="1" y="53"/>
                      <a:pt x="5" y="64"/>
                    </a:cubicBezTo>
                    <a:cubicBezTo>
                      <a:pt x="13" y="83"/>
                      <a:pt x="19" y="95"/>
                      <a:pt x="30" y="109"/>
                    </a:cubicBezTo>
                    <a:cubicBezTo>
                      <a:pt x="45" y="128"/>
                      <a:pt x="46" y="125"/>
                      <a:pt x="60" y="150"/>
                    </a:cubicBezTo>
                    <a:cubicBezTo>
                      <a:pt x="66" y="160"/>
                      <a:pt x="67" y="165"/>
                      <a:pt x="71" y="169"/>
                    </a:cubicBezTo>
                    <a:cubicBezTo>
                      <a:pt x="78" y="176"/>
                      <a:pt x="84" y="180"/>
                      <a:pt x="91" y="186"/>
                    </a:cubicBezTo>
                    <a:cubicBezTo>
                      <a:pt x="95" y="189"/>
                      <a:pt x="97" y="192"/>
                      <a:pt x="104" y="198"/>
                    </a:cubicBezTo>
                    <a:cubicBezTo>
                      <a:pt x="108" y="202"/>
                      <a:pt x="111" y="203"/>
                      <a:pt x="112" y="202"/>
                    </a:cubicBezTo>
                    <a:cubicBezTo>
                      <a:pt x="113" y="201"/>
                      <a:pt x="113" y="199"/>
                      <a:pt x="109" y="194"/>
                    </a:cubicBezTo>
                    <a:cubicBezTo>
                      <a:pt x="102" y="184"/>
                      <a:pt x="102" y="184"/>
                      <a:pt x="102" y="184"/>
                    </a:cubicBezTo>
                    <a:cubicBezTo>
                      <a:pt x="98" y="180"/>
                      <a:pt x="97" y="179"/>
                      <a:pt x="102" y="183"/>
                    </a:cubicBezTo>
                    <a:cubicBezTo>
                      <a:pt x="109" y="188"/>
                      <a:pt x="114" y="192"/>
                      <a:pt x="121" y="198"/>
                    </a:cubicBezTo>
                    <a:cubicBezTo>
                      <a:pt x="127" y="204"/>
                      <a:pt x="132" y="199"/>
                      <a:pt x="127" y="193"/>
                    </a:cubicBezTo>
                    <a:cubicBezTo>
                      <a:pt x="108" y="176"/>
                      <a:pt x="108" y="176"/>
                      <a:pt x="108" y="176"/>
                    </a:cubicBezTo>
                    <a:cubicBezTo>
                      <a:pt x="105" y="172"/>
                      <a:pt x="105" y="171"/>
                      <a:pt x="108" y="173"/>
                    </a:cubicBezTo>
                    <a:cubicBezTo>
                      <a:pt x="117" y="180"/>
                      <a:pt x="123" y="183"/>
                      <a:pt x="132" y="191"/>
                    </a:cubicBezTo>
                    <a:cubicBezTo>
                      <a:pt x="141" y="196"/>
                      <a:pt x="143" y="188"/>
                      <a:pt x="137" y="183"/>
                    </a:cubicBezTo>
                    <a:cubicBezTo>
                      <a:pt x="136" y="182"/>
                      <a:pt x="123" y="171"/>
                      <a:pt x="116" y="166"/>
                    </a:cubicBezTo>
                    <a:cubicBezTo>
                      <a:pt x="109" y="161"/>
                      <a:pt x="114" y="162"/>
                      <a:pt x="117" y="164"/>
                    </a:cubicBezTo>
                    <a:cubicBezTo>
                      <a:pt x="122" y="167"/>
                      <a:pt x="127" y="170"/>
                      <a:pt x="131" y="173"/>
                    </a:cubicBezTo>
                    <a:cubicBezTo>
                      <a:pt x="134" y="175"/>
                      <a:pt x="137" y="178"/>
                      <a:pt x="140" y="180"/>
                    </a:cubicBezTo>
                    <a:cubicBezTo>
                      <a:pt x="146" y="183"/>
                      <a:pt x="149" y="176"/>
                      <a:pt x="144" y="172"/>
                    </a:cubicBezTo>
                    <a:cubicBezTo>
                      <a:pt x="140" y="168"/>
                      <a:pt x="133" y="162"/>
                      <a:pt x="127" y="158"/>
                    </a:cubicBezTo>
                    <a:cubicBezTo>
                      <a:pt x="104" y="143"/>
                      <a:pt x="104" y="143"/>
                      <a:pt x="104" y="143"/>
                    </a:cubicBezTo>
                    <a:cubicBezTo>
                      <a:pt x="105" y="141"/>
                      <a:pt x="107" y="138"/>
                      <a:pt x="106" y="138"/>
                    </a:cubicBezTo>
                    <a:cubicBezTo>
                      <a:pt x="103" y="136"/>
                      <a:pt x="95" y="135"/>
                      <a:pt x="89" y="134"/>
                    </a:cubicBezTo>
                    <a:cubicBezTo>
                      <a:pt x="78" y="134"/>
                      <a:pt x="80" y="135"/>
                      <a:pt x="74" y="126"/>
                    </a:cubicBezTo>
                    <a:cubicBezTo>
                      <a:pt x="58" y="101"/>
                      <a:pt x="60" y="89"/>
                      <a:pt x="45" y="58"/>
                    </a:cubicBezTo>
                    <a:cubicBezTo>
                      <a:pt x="62" y="31"/>
                      <a:pt x="62" y="31"/>
                      <a:pt x="62" y="31"/>
                    </a:cubicBezTo>
                    <a:lnTo>
                      <a:pt x="32" y="0"/>
                    </a:lnTo>
                    <a:close/>
                  </a:path>
                </a:pathLst>
              </a:custGeom>
              <a:solidFill>
                <a:srgbClr val="F7DC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0" name="Freeform 59"/>
              <p:cNvSpPr>
                <a:spLocks/>
              </p:cNvSpPr>
              <p:nvPr/>
            </p:nvSpPr>
            <p:spPr bwMode="auto">
              <a:xfrm>
                <a:off x="3561" y="1995"/>
                <a:ext cx="97" cy="1111"/>
              </a:xfrm>
              <a:custGeom>
                <a:avLst/>
                <a:gdLst>
                  <a:gd name="T0" fmla="*/ 55 w 55"/>
                  <a:gd name="T1" fmla="*/ 0 h 628"/>
                  <a:gd name="T2" fmla="*/ 28 w 55"/>
                  <a:gd name="T3" fmla="*/ 0 h 628"/>
                  <a:gd name="T4" fmla="*/ 26 w 55"/>
                  <a:gd name="T5" fmla="*/ 0 h 628"/>
                  <a:gd name="T6" fmla="*/ 5 w 55"/>
                  <a:gd name="T7" fmla="*/ 87 h 628"/>
                  <a:gd name="T8" fmla="*/ 0 w 55"/>
                  <a:gd name="T9" fmla="*/ 175 h 628"/>
                  <a:gd name="T10" fmla="*/ 5 w 55"/>
                  <a:gd name="T11" fmla="*/ 338 h 628"/>
                  <a:gd name="T12" fmla="*/ 9 w 55"/>
                  <a:gd name="T13" fmla="*/ 481 h 628"/>
                  <a:gd name="T14" fmla="*/ 20 w 55"/>
                  <a:gd name="T15" fmla="*/ 527 h 628"/>
                  <a:gd name="T16" fmla="*/ 22 w 55"/>
                  <a:gd name="T17" fmla="*/ 544 h 628"/>
                  <a:gd name="T18" fmla="*/ 15 w 55"/>
                  <a:gd name="T19" fmla="*/ 552 h 628"/>
                  <a:gd name="T20" fmla="*/ 7 w 55"/>
                  <a:gd name="T21" fmla="*/ 627 h 628"/>
                  <a:gd name="T22" fmla="*/ 19 w 55"/>
                  <a:gd name="T23" fmla="*/ 628 h 628"/>
                  <a:gd name="T24" fmla="*/ 45 w 55"/>
                  <a:gd name="T25" fmla="*/ 627 h 628"/>
                  <a:gd name="T26" fmla="*/ 49 w 55"/>
                  <a:gd name="T27" fmla="*/ 615 h 628"/>
                  <a:gd name="T28" fmla="*/ 49 w 55"/>
                  <a:gd name="T29" fmla="*/ 613 h 628"/>
                  <a:gd name="T30" fmla="*/ 47 w 55"/>
                  <a:gd name="T31" fmla="*/ 602 h 628"/>
                  <a:gd name="T32" fmla="*/ 46 w 55"/>
                  <a:gd name="T33" fmla="*/ 593 h 628"/>
                  <a:gd name="T34" fmla="*/ 46 w 55"/>
                  <a:gd name="T35" fmla="*/ 572 h 628"/>
                  <a:gd name="T36" fmla="*/ 46 w 55"/>
                  <a:gd name="T37" fmla="*/ 565 h 628"/>
                  <a:gd name="T38" fmla="*/ 43 w 55"/>
                  <a:gd name="T39" fmla="*/ 496 h 628"/>
                  <a:gd name="T40" fmla="*/ 41 w 55"/>
                  <a:gd name="T41" fmla="*/ 430 h 628"/>
                  <a:gd name="T42" fmla="*/ 39 w 55"/>
                  <a:gd name="T43" fmla="*/ 325 h 628"/>
                  <a:gd name="T44" fmla="*/ 45 w 55"/>
                  <a:gd name="T45" fmla="*/ 167 h 628"/>
                  <a:gd name="T46" fmla="*/ 44 w 55"/>
                  <a:gd name="T47" fmla="*/ 133 h 628"/>
                  <a:gd name="T48" fmla="*/ 55 w 55"/>
                  <a:gd name="T49" fmla="*/ 38 h 628"/>
                  <a:gd name="T50" fmla="*/ 55 w 55"/>
                  <a:gd name="T51"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8">
                    <a:moveTo>
                      <a:pt x="55" y="0"/>
                    </a:moveTo>
                    <a:cubicBezTo>
                      <a:pt x="28" y="0"/>
                      <a:pt x="28" y="0"/>
                      <a:pt x="28" y="0"/>
                    </a:cubicBezTo>
                    <a:cubicBezTo>
                      <a:pt x="26" y="0"/>
                      <a:pt x="26" y="0"/>
                      <a:pt x="26" y="0"/>
                    </a:cubicBezTo>
                    <a:cubicBezTo>
                      <a:pt x="5" y="87"/>
                      <a:pt x="5" y="87"/>
                      <a:pt x="5" y="87"/>
                    </a:cubicBezTo>
                    <a:cubicBezTo>
                      <a:pt x="5" y="87"/>
                      <a:pt x="0" y="172"/>
                      <a:pt x="0" y="175"/>
                    </a:cubicBezTo>
                    <a:cubicBezTo>
                      <a:pt x="1" y="179"/>
                      <a:pt x="5" y="338"/>
                      <a:pt x="5" y="338"/>
                    </a:cubicBezTo>
                    <a:cubicBezTo>
                      <a:pt x="9" y="481"/>
                      <a:pt x="9" y="481"/>
                      <a:pt x="9" y="481"/>
                    </a:cubicBezTo>
                    <a:cubicBezTo>
                      <a:pt x="20" y="527"/>
                      <a:pt x="20" y="527"/>
                      <a:pt x="20" y="527"/>
                    </a:cubicBezTo>
                    <a:cubicBezTo>
                      <a:pt x="22" y="544"/>
                      <a:pt x="22" y="544"/>
                      <a:pt x="22" y="544"/>
                    </a:cubicBezTo>
                    <a:cubicBezTo>
                      <a:pt x="15" y="552"/>
                      <a:pt x="15" y="552"/>
                      <a:pt x="15" y="552"/>
                    </a:cubicBezTo>
                    <a:cubicBezTo>
                      <a:pt x="7" y="627"/>
                      <a:pt x="7" y="627"/>
                      <a:pt x="7" y="627"/>
                    </a:cubicBezTo>
                    <a:cubicBezTo>
                      <a:pt x="7" y="627"/>
                      <a:pt x="19" y="628"/>
                      <a:pt x="19" y="628"/>
                    </a:cubicBezTo>
                    <a:cubicBezTo>
                      <a:pt x="45" y="627"/>
                      <a:pt x="45" y="627"/>
                      <a:pt x="45" y="627"/>
                    </a:cubicBezTo>
                    <a:cubicBezTo>
                      <a:pt x="49" y="615"/>
                      <a:pt x="49" y="615"/>
                      <a:pt x="49" y="615"/>
                    </a:cubicBezTo>
                    <a:cubicBezTo>
                      <a:pt x="49" y="613"/>
                      <a:pt x="49" y="613"/>
                      <a:pt x="49" y="613"/>
                    </a:cubicBezTo>
                    <a:cubicBezTo>
                      <a:pt x="49" y="610"/>
                      <a:pt x="48" y="606"/>
                      <a:pt x="47" y="602"/>
                    </a:cubicBezTo>
                    <a:cubicBezTo>
                      <a:pt x="47" y="599"/>
                      <a:pt x="46" y="596"/>
                      <a:pt x="46" y="593"/>
                    </a:cubicBezTo>
                    <a:cubicBezTo>
                      <a:pt x="45" y="586"/>
                      <a:pt x="47" y="577"/>
                      <a:pt x="46" y="572"/>
                    </a:cubicBezTo>
                    <a:cubicBezTo>
                      <a:pt x="46" y="565"/>
                      <a:pt x="46" y="565"/>
                      <a:pt x="46" y="565"/>
                    </a:cubicBezTo>
                    <a:cubicBezTo>
                      <a:pt x="44" y="530"/>
                      <a:pt x="44" y="524"/>
                      <a:pt x="43" y="496"/>
                    </a:cubicBezTo>
                    <a:cubicBezTo>
                      <a:pt x="43" y="481"/>
                      <a:pt x="40" y="448"/>
                      <a:pt x="41" y="430"/>
                    </a:cubicBezTo>
                    <a:cubicBezTo>
                      <a:pt x="41" y="409"/>
                      <a:pt x="39" y="325"/>
                      <a:pt x="39" y="325"/>
                    </a:cubicBezTo>
                    <a:cubicBezTo>
                      <a:pt x="40" y="288"/>
                      <a:pt x="45" y="219"/>
                      <a:pt x="45" y="167"/>
                    </a:cubicBezTo>
                    <a:cubicBezTo>
                      <a:pt x="44" y="154"/>
                      <a:pt x="44" y="143"/>
                      <a:pt x="44" y="133"/>
                    </a:cubicBezTo>
                    <a:cubicBezTo>
                      <a:pt x="55" y="38"/>
                      <a:pt x="55" y="38"/>
                      <a:pt x="55" y="38"/>
                    </a:cubicBezTo>
                    <a:lnTo>
                      <a:pt x="55"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grpSp>
          <p:nvGrpSpPr>
            <p:cNvPr id="62" name="Group 4"/>
            <p:cNvGrpSpPr>
              <a:grpSpLocks noChangeAspect="1"/>
            </p:cNvGrpSpPr>
            <p:nvPr userDrawn="1"/>
          </p:nvGrpSpPr>
          <p:grpSpPr bwMode="auto">
            <a:xfrm>
              <a:off x="7592657" y="2724248"/>
              <a:ext cx="718596" cy="657562"/>
              <a:chOff x="3529" y="1878"/>
              <a:chExt cx="624" cy="571"/>
            </a:xfrm>
          </p:grpSpPr>
          <p:sp>
            <p:nvSpPr>
              <p:cNvPr id="63" name="Freeform 5"/>
              <p:cNvSpPr>
                <a:spLocks/>
              </p:cNvSpPr>
              <p:nvPr userDrawn="1"/>
            </p:nvSpPr>
            <p:spPr bwMode="auto">
              <a:xfrm>
                <a:off x="3959" y="2116"/>
                <a:ext cx="194" cy="169"/>
              </a:xfrm>
              <a:custGeom>
                <a:avLst/>
                <a:gdLst>
                  <a:gd name="T0" fmla="*/ 2 w 109"/>
                  <a:gd name="T1" fmla="*/ 47 h 95"/>
                  <a:gd name="T2" fmla="*/ 39 w 109"/>
                  <a:gd name="T3" fmla="*/ 9 h 95"/>
                  <a:gd name="T4" fmla="*/ 71 w 109"/>
                  <a:gd name="T5" fmla="*/ 4 h 95"/>
                  <a:gd name="T6" fmla="*/ 93 w 109"/>
                  <a:gd name="T7" fmla="*/ 0 h 95"/>
                  <a:gd name="T8" fmla="*/ 100 w 109"/>
                  <a:gd name="T9" fmla="*/ 6 h 95"/>
                  <a:gd name="T10" fmla="*/ 99 w 109"/>
                  <a:gd name="T11" fmla="*/ 13 h 95"/>
                  <a:gd name="T12" fmla="*/ 96 w 109"/>
                  <a:gd name="T13" fmla="*/ 16 h 95"/>
                  <a:gd name="T14" fmla="*/ 99 w 109"/>
                  <a:gd name="T15" fmla="*/ 33 h 95"/>
                  <a:gd name="T16" fmla="*/ 100 w 109"/>
                  <a:gd name="T17" fmla="*/ 51 h 95"/>
                  <a:gd name="T18" fmla="*/ 96 w 109"/>
                  <a:gd name="T19" fmla="*/ 69 h 95"/>
                  <a:gd name="T20" fmla="*/ 75 w 109"/>
                  <a:gd name="T21" fmla="*/ 77 h 95"/>
                  <a:gd name="T22" fmla="*/ 49 w 109"/>
                  <a:gd name="T23" fmla="*/ 87 h 95"/>
                  <a:gd name="T24" fmla="*/ 26 w 109"/>
                  <a:gd name="T25" fmla="*/ 88 h 95"/>
                  <a:gd name="T26" fmla="*/ 19 w 109"/>
                  <a:gd name="T27" fmla="*/ 95 h 95"/>
                  <a:gd name="T28" fmla="*/ 0 w 109"/>
                  <a:gd name="T29" fmla="*/ 70 h 95"/>
                  <a:gd name="T30" fmla="*/ 2 w 109"/>
                  <a:gd name="T31"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95">
                    <a:moveTo>
                      <a:pt x="2" y="47"/>
                    </a:moveTo>
                    <a:cubicBezTo>
                      <a:pt x="9" y="40"/>
                      <a:pt x="33" y="12"/>
                      <a:pt x="39" y="9"/>
                    </a:cubicBezTo>
                    <a:cubicBezTo>
                      <a:pt x="43" y="7"/>
                      <a:pt x="51" y="7"/>
                      <a:pt x="71" y="4"/>
                    </a:cubicBezTo>
                    <a:cubicBezTo>
                      <a:pt x="79" y="2"/>
                      <a:pt x="87" y="0"/>
                      <a:pt x="93" y="0"/>
                    </a:cubicBezTo>
                    <a:cubicBezTo>
                      <a:pt x="98" y="0"/>
                      <a:pt x="100" y="2"/>
                      <a:pt x="100" y="6"/>
                    </a:cubicBezTo>
                    <a:cubicBezTo>
                      <a:pt x="101" y="8"/>
                      <a:pt x="101" y="11"/>
                      <a:pt x="99" y="13"/>
                    </a:cubicBezTo>
                    <a:cubicBezTo>
                      <a:pt x="98" y="14"/>
                      <a:pt x="97" y="15"/>
                      <a:pt x="96" y="16"/>
                    </a:cubicBezTo>
                    <a:cubicBezTo>
                      <a:pt x="102" y="17"/>
                      <a:pt x="105" y="28"/>
                      <a:pt x="99" y="33"/>
                    </a:cubicBezTo>
                    <a:cubicBezTo>
                      <a:pt x="105" y="35"/>
                      <a:pt x="106" y="46"/>
                      <a:pt x="100" y="51"/>
                    </a:cubicBezTo>
                    <a:cubicBezTo>
                      <a:pt x="109" y="52"/>
                      <a:pt x="106" y="64"/>
                      <a:pt x="96" y="69"/>
                    </a:cubicBezTo>
                    <a:cubicBezTo>
                      <a:pt x="91" y="72"/>
                      <a:pt x="83" y="75"/>
                      <a:pt x="75" y="77"/>
                    </a:cubicBezTo>
                    <a:cubicBezTo>
                      <a:pt x="69" y="79"/>
                      <a:pt x="58" y="85"/>
                      <a:pt x="49" y="87"/>
                    </a:cubicBezTo>
                    <a:cubicBezTo>
                      <a:pt x="45" y="88"/>
                      <a:pt x="32" y="86"/>
                      <a:pt x="26" y="88"/>
                    </a:cubicBezTo>
                    <a:cubicBezTo>
                      <a:pt x="25" y="88"/>
                      <a:pt x="19" y="95"/>
                      <a:pt x="19" y="95"/>
                    </a:cubicBezTo>
                    <a:cubicBezTo>
                      <a:pt x="0" y="70"/>
                      <a:pt x="0" y="70"/>
                      <a:pt x="0" y="70"/>
                    </a:cubicBezTo>
                    <a:lnTo>
                      <a:pt x="2" y="47"/>
                    </a:lnTo>
                    <a:close/>
                  </a:path>
                </a:pathLst>
              </a:custGeom>
              <a:solidFill>
                <a:srgbClr val="FFDB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sp>
            <p:nvSpPr>
              <p:cNvPr id="64" name="Freeform 6"/>
              <p:cNvSpPr>
                <a:spLocks/>
              </p:cNvSpPr>
              <p:nvPr userDrawn="1"/>
            </p:nvSpPr>
            <p:spPr bwMode="auto">
              <a:xfrm>
                <a:off x="3529" y="1878"/>
                <a:ext cx="491" cy="571"/>
              </a:xfrm>
              <a:custGeom>
                <a:avLst/>
                <a:gdLst>
                  <a:gd name="T0" fmla="*/ 21 w 276"/>
                  <a:gd name="T1" fmla="*/ 126 h 321"/>
                  <a:gd name="T2" fmla="*/ 53 w 276"/>
                  <a:gd name="T3" fmla="*/ 295 h 321"/>
                  <a:gd name="T4" fmla="*/ 107 w 276"/>
                  <a:gd name="T5" fmla="*/ 311 h 321"/>
                  <a:gd name="T6" fmla="*/ 276 w 276"/>
                  <a:gd name="T7" fmla="*/ 224 h 321"/>
                  <a:gd name="T8" fmla="*/ 247 w 276"/>
                  <a:gd name="T9" fmla="*/ 167 h 321"/>
                  <a:gd name="T10" fmla="*/ 111 w 276"/>
                  <a:gd name="T11" fmla="*/ 242 h 321"/>
                  <a:gd name="T12" fmla="*/ 88 w 276"/>
                  <a:gd name="T13" fmla="*/ 90 h 321"/>
                  <a:gd name="T14" fmla="*/ 29 w 276"/>
                  <a:gd name="T15" fmla="*/ 0 h 321"/>
                  <a:gd name="T16" fmla="*/ 6 w 276"/>
                  <a:gd name="T17" fmla="*/ 26 h 321"/>
                  <a:gd name="T18" fmla="*/ 21 w 276"/>
                  <a:gd name="T19"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321">
                    <a:moveTo>
                      <a:pt x="21" y="126"/>
                    </a:moveTo>
                    <a:cubicBezTo>
                      <a:pt x="29" y="182"/>
                      <a:pt x="37" y="248"/>
                      <a:pt x="53" y="295"/>
                    </a:cubicBezTo>
                    <a:cubicBezTo>
                      <a:pt x="62" y="321"/>
                      <a:pt x="79" y="318"/>
                      <a:pt x="107" y="311"/>
                    </a:cubicBezTo>
                    <a:cubicBezTo>
                      <a:pt x="165" y="298"/>
                      <a:pt x="251" y="244"/>
                      <a:pt x="276" y="224"/>
                    </a:cubicBezTo>
                    <a:cubicBezTo>
                      <a:pt x="264" y="201"/>
                      <a:pt x="259" y="190"/>
                      <a:pt x="247" y="167"/>
                    </a:cubicBezTo>
                    <a:cubicBezTo>
                      <a:pt x="204" y="198"/>
                      <a:pt x="144" y="202"/>
                      <a:pt x="111" y="242"/>
                    </a:cubicBezTo>
                    <a:cubicBezTo>
                      <a:pt x="103" y="211"/>
                      <a:pt x="92" y="144"/>
                      <a:pt x="88" y="90"/>
                    </a:cubicBezTo>
                    <a:cubicBezTo>
                      <a:pt x="84" y="41"/>
                      <a:pt x="60" y="3"/>
                      <a:pt x="29" y="0"/>
                    </a:cubicBezTo>
                    <a:cubicBezTo>
                      <a:pt x="29" y="0"/>
                      <a:pt x="0" y="10"/>
                      <a:pt x="6" y="26"/>
                    </a:cubicBezTo>
                    <a:cubicBezTo>
                      <a:pt x="16" y="56"/>
                      <a:pt x="29" y="78"/>
                      <a:pt x="21" y="126"/>
                    </a:cubicBezTo>
                    <a:close/>
                  </a:path>
                </a:pathLst>
              </a:custGeom>
              <a:solidFill>
                <a:srgbClr val="00A3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54380"/>
                <a:endParaRPr lang="en-GB" sz="1485">
                  <a:solidFill>
                    <a:srgbClr val="000000"/>
                  </a:solidFill>
                </a:endParaRPr>
              </a:p>
            </p:txBody>
          </p:sp>
        </p:grpSp>
      </p:grpSp>
    </p:spTree>
    <p:extLst>
      <p:ext uri="{BB962C8B-B14F-4D97-AF65-F5344CB8AC3E}">
        <p14:creationId xmlns:p14="http://schemas.microsoft.com/office/powerpoint/2010/main" val="2956496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750"/>
                                        <p:tgtEl>
                                          <p:spTgt spid="4"/>
                                        </p:tgtEl>
                                      </p:cBhvr>
                                    </p:animEffect>
                                    <p:set>
                                      <p:cBhvr>
                                        <p:cTn id="7" dur="1" fill="hold">
                                          <p:stCondLst>
                                            <p:cond delay="749"/>
                                          </p:stCondLst>
                                        </p:cTn>
                                        <p:tgtEl>
                                          <p:spTgt spid="4"/>
                                        </p:tgtEl>
                                        <p:attrNameLst>
                                          <p:attrName>style.visibility</p:attrName>
                                        </p:attrNameLst>
                                      </p:cBhvr>
                                      <p:to>
                                        <p:strVal val="hidden"/>
                                      </p:to>
                                    </p:set>
                                  </p:childTnLst>
                                </p:cTn>
                              </p:par>
                              <p:par>
                                <p:cTn id="8" presetID="42" presetClass="path" presetSubtype="0" accel="50000" decel="50000" fill="hold" nodeType="withEffect">
                                  <p:stCondLst>
                                    <p:cond delay="0"/>
                                  </p:stCondLst>
                                  <p:childTnLst>
                                    <p:animMotion origin="layout" path="M 1.45833E-6 2.59259E-6 L -0.10378 2.59259E-6 " pathEditMode="relative" rAng="0" ptsTypes="AA">
                                      <p:cBhvr>
                                        <p:cTn id="9" dur="750" fill="hold"/>
                                        <p:tgtEl>
                                          <p:spTgt spid="4"/>
                                        </p:tgtEl>
                                        <p:attrNameLst>
                                          <p:attrName>ppt_x</p:attrName>
                                          <p:attrName>ppt_y</p:attrName>
                                        </p:attrNameLst>
                                      </p:cBhvr>
                                      <p:rCtr x="-5195" y="0"/>
                                    </p:animMotion>
                                  </p:childTnLst>
                                </p:cTn>
                              </p:par>
                              <p:par>
                                <p:cTn id="10" presetID="10" presetClass="entr" presetSubtype="0" fill="hold" nodeType="with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par>
                                <p:cTn id="13" presetID="42" presetClass="path" presetSubtype="0" accel="50000" decel="50000" fill="hold" nodeType="withEffect">
                                  <p:stCondLst>
                                    <p:cond delay="0"/>
                                  </p:stCondLst>
                                  <p:childTnLst>
                                    <p:animMotion origin="layout" path="M 0.06705 0.00301 L 3.95833E-6 2.59259E-6 " pathEditMode="relative" rAng="0" ptsTypes="AA">
                                      <p:cBhvr>
                                        <p:cTn id="14" dur="750" fill="hold"/>
                                        <p:tgtEl>
                                          <p:spTgt spid="65"/>
                                        </p:tgtEl>
                                        <p:attrNameLst>
                                          <p:attrName>ppt_x</p:attrName>
                                          <p:attrName>ppt_y</p:attrName>
                                        </p:attrNameLst>
                                      </p:cBhvr>
                                      <p:rCtr x="-3359" y="-1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5_Custom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13666410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17717538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98051183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31843811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7640" y="432000"/>
            <a:ext cx="8403120" cy="518400"/>
          </a:xfrm>
        </p:spPr>
        <p:txBody>
          <a:bodyPr/>
          <a:lstStyle>
            <a:lvl1pPr>
              <a:defRPr/>
            </a:lvl1pPr>
          </a:lstStyle>
          <a:p>
            <a:r>
              <a:rPr lang="en-US" dirty="0"/>
              <a:t>Colors</a:t>
            </a:r>
          </a:p>
        </p:txBody>
      </p:sp>
      <p:grpSp>
        <p:nvGrpSpPr>
          <p:cNvPr id="20" name="Group 19"/>
          <p:cNvGrpSpPr/>
          <p:nvPr userDrawn="1"/>
        </p:nvGrpSpPr>
        <p:grpSpPr>
          <a:xfrm>
            <a:off x="1002949" y="1430719"/>
            <a:ext cx="7607041"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pPr defTabSz="754380"/>
              <a:r>
                <a:rPr lang="en-GB" sz="825" b="1" dirty="0">
                  <a:solidFill>
                    <a:srgbClr val="00338D"/>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pPr defTabSz="754380"/>
              <a:r>
                <a:rPr lang="en-GB" sz="825" b="1" dirty="0">
                  <a:solidFill>
                    <a:srgbClr val="00338D"/>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pPr defTabSz="754380"/>
              <a:r>
                <a:rPr lang="en-GB" sz="825" b="1" dirty="0">
                  <a:solidFill>
                    <a:srgbClr val="00338D"/>
                  </a:solidFill>
                </a:rPr>
                <a:t>Tertiary</a:t>
              </a: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KPMG Blue</a:t>
              </a:r>
            </a:p>
            <a:p>
              <a:pPr algn="ctr" defTabSz="754380"/>
              <a:r>
                <a:rPr lang="en-GB" sz="743">
                  <a:solidFill>
                    <a:prstClr val="white"/>
                  </a:solidFill>
                </a:rPr>
                <a:t>0 / 51 / 141</a:t>
              </a:r>
              <a:endParaRPr lang="en-GB" sz="743" dirty="0">
                <a:solidFill>
                  <a:prstClr val="white"/>
                </a:solidFill>
              </a:endParaRP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Medium Blue</a:t>
              </a:r>
            </a:p>
            <a:p>
              <a:pPr algn="ctr" defTabSz="754380"/>
              <a:r>
                <a:rPr lang="en-GB" sz="743" dirty="0">
                  <a:solidFill>
                    <a:prstClr val="white"/>
                  </a:solidFill>
                </a:rPr>
                <a:t>0 / 94 / 184</a:t>
              </a: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Blue</a:t>
              </a:r>
            </a:p>
            <a:p>
              <a:pPr algn="ctr" defTabSz="754380"/>
              <a:r>
                <a:rPr lang="en-GB" sz="743" dirty="0">
                  <a:solidFill>
                    <a:prstClr val="white"/>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Violet</a:t>
              </a:r>
            </a:p>
            <a:p>
              <a:pPr algn="ctr" defTabSz="754380"/>
              <a:r>
                <a:rPr lang="en-GB" sz="743">
                  <a:solidFill>
                    <a:prstClr val="white"/>
                  </a:solidFill>
                </a:rPr>
                <a:t>72 / 54 / 152</a:t>
              </a:r>
              <a:endParaRPr lang="en-GB" sz="743" dirty="0">
                <a:solidFill>
                  <a:prstClr val="white"/>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Purple</a:t>
              </a:r>
            </a:p>
            <a:p>
              <a:pPr algn="ctr" defTabSz="754380"/>
              <a:r>
                <a:rPr lang="en-GB" sz="743" dirty="0">
                  <a:solidFill>
                    <a:prstClr val="white"/>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Purple</a:t>
              </a:r>
            </a:p>
            <a:p>
              <a:pPr algn="ctr" defTabSz="754380"/>
              <a:r>
                <a:rPr lang="en-GB" sz="743">
                  <a:solidFill>
                    <a:prstClr val="white"/>
                  </a:solidFill>
                </a:rPr>
                <a:t>109 / 32 / 119</a:t>
              </a:r>
              <a:endParaRPr lang="en-GB" sz="743" dirty="0">
                <a:solidFill>
                  <a:prstClr val="white"/>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Green</a:t>
              </a:r>
            </a:p>
            <a:p>
              <a:pPr algn="ctr" defTabSz="754380"/>
              <a:r>
                <a:rPr lang="en-GB" sz="743">
                  <a:solidFill>
                    <a:prstClr val="white"/>
                  </a:solidFill>
                </a:rPr>
                <a:t>0 / 163 / 161</a:t>
              </a:r>
              <a:endParaRPr lang="en-GB" sz="743" dirty="0">
                <a:solidFill>
                  <a:prstClr val="white"/>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Dark Green</a:t>
              </a:r>
            </a:p>
            <a:p>
              <a:pPr algn="ctr" defTabSz="754380"/>
              <a:r>
                <a:rPr lang="en-GB" sz="743" dirty="0">
                  <a:solidFill>
                    <a:prstClr val="white"/>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Green</a:t>
              </a:r>
            </a:p>
            <a:p>
              <a:pPr algn="ctr" defTabSz="754380"/>
              <a:r>
                <a:rPr lang="en-GB" sz="743">
                  <a:solidFill>
                    <a:prstClr val="white"/>
                  </a:solidFill>
                </a:rPr>
                <a:t>67 / 176 / 42</a:t>
              </a:r>
              <a:endParaRPr lang="en-GB" sz="743" dirty="0">
                <a:solidFill>
                  <a:prstClr val="white"/>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Yellow</a:t>
              </a:r>
            </a:p>
            <a:p>
              <a:pPr algn="ctr" defTabSz="754380"/>
              <a:r>
                <a:rPr lang="en-GB" sz="743">
                  <a:solidFill>
                    <a:prstClr val="white"/>
                  </a:solidFill>
                </a:rPr>
                <a:t>234 / 170 / 0</a:t>
              </a:r>
              <a:endParaRPr lang="en-GB" sz="743" dirty="0">
                <a:solidFill>
                  <a:prstClr val="white"/>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Orange</a:t>
              </a:r>
            </a:p>
            <a:p>
              <a:pPr algn="ctr" defTabSz="754380"/>
              <a:r>
                <a:rPr lang="en-GB" sz="743" dirty="0">
                  <a:solidFill>
                    <a:prstClr val="white"/>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Red</a:t>
              </a:r>
            </a:p>
            <a:p>
              <a:pPr algn="ctr" defTabSz="754380"/>
              <a:r>
                <a:rPr lang="en-GB" sz="743">
                  <a:solidFill>
                    <a:prstClr val="white"/>
                  </a:solidFill>
                </a:rPr>
                <a:t>188 / 32 / 75</a:t>
              </a:r>
              <a:endParaRPr lang="en-GB" sz="743" dirty="0">
                <a:solidFill>
                  <a:prstClr val="white"/>
                </a:solidFill>
              </a:endParaRP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Pink</a:t>
              </a:r>
            </a:p>
            <a:p>
              <a:pPr algn="ctr" defTabSz="754380"/>
              <a:r>
                <a:rPr lang="en-GB" sz="743" dirty="0">
                  <a:solidFill>
                    <a:prstClr val="white"/>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KPMG Blue</a:t>
              </a:r>
            </a:p>
            <a:p>
              <a:pPr algn="ctr" defTabSz="754380"/>
              <a:r>
                <a:rPr lang="en-GB" sz="743">
                  <a:solidFill>
                    <a:prstClr val="white"/>
                  </a:solidFill>
                </a:rPr>
                <a:t>0 / 51 / 141</a:t>
              </a:r>
              <a:endParaRPr lang="en-GB" sz="743" dirty="0">
                <a:solidFill>
                  <a:prstClr val="white"/>
                </a:solidFill>
              </a:endParaRP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Medium Blue</a:t>
              </a:r>
            </a:p>
            <a:p>
              <a:pPr algn="ctr" defTabSz="754380"/>
              <a:r>
                <a:rPr lang="en-GB" sz="743" dirty="0">
                  <a:solidFill>
                    <a:prstClr val="white"/>
                  </a:solidFill>
                </a:rPr>
                <a:t>0 / 94 / 184</a:t>
              </a: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Blue</a:t>
              </a:r>
            </a:p>
            <a:p>
              <a:pPr algn="ctr" defTabSz="754380"/>
              <a:r>
                <a:rPr lang="en-GB" sz="743">
                  <a:solidFill>
                    <a:prstClr val="white"/>
                  </a:solidFill>
                </a:rPr>
                <a:t>0 / 145 / 218</a:t>
              </a:r>
              <a:endParaRPr lang="en-GB" sz="743" dirty="0">
                <a:solidFill>
                  <a:prstClr val="white"/>
                </a:solidFill>
              </a:endParaRP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Light Purple</a:t>
              </a:r>
            </a:p>
            <a:p>
              <a:pPr algn="ctr" defTabSz="754380"/>
              <a:r>
                <a:rPr lang="en-GB" sz="743">
                  <a:solidFill>
                    <a:prstClr val="white"/>
                  </a:solidFill>
                </a:rPr>
                <a:t>109 / 32 / 119</a:t>
              </a:r>
              <a:endParaRPr lang="en-GB" sz="743" dirty="0">
                <a:solidFill>
                  <a:prstClr val="white"/>
                </a:solidFill>
              </a:endParaRP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Green</a:t>
              </a:r>
            </a:p>
            <a:p>
              <a:pPr algn="ctr" defTabSz="754380"/>
              <a:r>
                <a:rPr lang="en-GB" sz="743">
                  <a:solidFill>
                    <a:prstClr val="white"/>
                  </a:solidFill>
                </a:rPr>
                <a:t>0 / 163 / 161</a:t>
              </a:r>
              <a:endParaRPr lang="en-GB" sz="743" dirty="0">
                <a:solidFill>
                  <a:prstClr val="white"/>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Green</a:t>
              </a:r>
            </a:p>
            <a:p>
              <a:pPr algn="ctr" defTabSz="754380"/>
              <a:r>
                <a:rPr lang="en-GB" sz="743" dirty="0">
                  <a:solidFill>
                    <a:prstClr val="white"/>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a:solidFill>
                    <a:prstClr val="white"/>
                  </a:solidFill>
                </a:rPr>
                <a:t>Yellow</a:t>
              </a:r>
            </a:p>
            <a:p>
              <a:pPr algn="ctr" defTabSz="754380"/>
              <a:r>
                <a:rPr lang="en-GB" sz="743">
                  <a:solidFill>
                    <a:prstClr val="white"/>
                  </a:solidFill>
                </a:rPr>
                <a:t>234 / 170 / 0</a:t>
              </a:r>
              <a:endParaRPr lang="en-GB" sz="743" dirty="0">
                <a:solidFill>
                  <a:prstClr val="white"/>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Pink</a:t>
              </a:r>
            </a:p>
            <a:p>
              <a:pPr algn="ctr" defTabSz="754380"/>
              <a:r>
                <a:rPr lang="en-GB" sz="743" dirty="0">
                  <a:solidFill>
                    <a:prstClr val="white"/>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Dark Brown</a:t>
              </a:r>
            </a:p>
            <a:p>
              <a:pPr algn="ctr" defTabSz="754380"/>
              <a:r>
                <a:rPr lang="en-GB" sz="743" dirty="0">
                  <a:solidFill>
                    <a:prstClr val="white"/>
                  </a:solidFill>
                </a:rPr>
                <a:t>117 / 63 / 25</a:t>
              </a: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Brown</a:t>
              </a:r>
            </a:p>
            <a:p>
              <a:pPr algn="ctr" defTabSz="754380"/>
              <a:r>
                <a:rPr lang="en-GB" sz="743" dirty="0">
                  <a:solidFill>
                    <a:prstClr val="white"/>
                  </a:solidFill>
                </a:rPr>
                <a:t>155 / 100 / 46</a:t>
              </a: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Beige</a:t>
              </a:r>
            </a:p>
            <a:p>
              <a:pPr algn="ctr" defTabSz="754380"/>
              <a:r>
                <a:rPr lang="en-GB" sz="743" dirty="0">
                  <a:solidFill>
                    <a:prstClr val="white"/>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Olive</a:t>
              </a:r>
            </a:p>
            <a:p>
              <a:pPr algn="ctr" defTabSz="754380"/>
              <a:r>
                <a:rPr lang="en-GB" sz="743" dirty="0">
                  <a:solidFill>
                    <a:prstClr val="white"/>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754380"/>
              <a:r>
                <a:rPr lang="en-GB" sz="743" dirty="0">
                  <a:solidFill>
                    <a:prstClr val="white"/>
                  </a:solidFill>
                </a:rPr>
                <a:t>Light Pink</a:t>
              </a:r>
            </a:p>
            <a:p>
              <a:pPr algn="ctr" defTabSz="754380"/>
              <a:r>
                <a:rPr lang="en-GB" sz="743" dirty="0">
                  <a:solidFill>
                    <a:prstClr val="white"/>
                  </a:solidFill>
                </a:rPr>
                <a:t>227 / 104 / 119</a:t>
              </a: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pPr defTabSz="754380"/>
              <a:r>
                <a:rPr lang="en-GB" sz="825" b="1" dirty="0">
                  <a:solidFill>
                    <a:srgbClr val="00338D"/>
                  </a:solidFill>
                </a:rPr>
                <a:t>Colour order for graphs</a:t>
              </a:r>
            </a:p>
          </p:txBody>
        </p:sp>
      </p:grpSp>
    </p:spTree>
    <p:extLst>
      <p:ext uri="{BB962C8B-B14F-4D97-AF65-F5344CB8AC3E}">
        <p14:creationId xmlns:p14="http://schemas.microsoft.com/office/powerpoint/2010/main" val="8384848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16"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13" name="Text Placeholder 2"/>
          <p:cNvSpPr>
            <a:spLocks noGrp="1"/>
          </p:cNvSpPr>
          <p:nvPr>
            <p:ph type="body" sz="quarter" idx="11"/>
          </p:nvPr>
        </p:nvSpPr>
        <p:spPr>
          <a:xfrm>
            <a:off x="2251560" y="4771394"/>
            <a:ext cx="6477695" cy="643342"/>
          </a:xfrm>
        </p:spPr>
        <p:txBody>
          <a:bodyPr/>
          <a:lstStyle>
            <a:lvl1pPr>
              <a:buFontTx/>
              <a:buNone/>
              <a:defRPr sz="907" b="0">
                <a:solidFill>
                  <a:schemeClr val="bg1">
                    <a:lumMod val="65000"/>
                  </a:schemeClr>
                </a:solidFill>
              </a:defRPr>
            </a:lvl1pPr>
            <a:lvl2pPr>
              <a:buFontTx/>
              <a:buNone/>
              <a:defRPr sz="907"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a:p>
            <a:pPr lvl="1"/>
            <a:r>
              <a:rPr lang="en-US"/>
              <a:t>Second level</a:t>
            </a:r>
          </a:p>
        </p:txBody>
      </p:sp>
      <p:sp>
        <p:nvSpPr>
          <p:cNvPr id="14" name="Text Placeholder 2"/>
          <p:cNvSpPr>
            <a:spLocks noGrp="1"/>
          </p:cNvSpPr>
          <p:nvPr>
            <p:ph type="body" sz="quarter" idx="12"/>
          </p:nvPr>
        </p:nvSpPr>
        <p:spPr>
          <a:xfrm>
            <a:off x="2251560" y="5711031"/>
            <a:ext cx="6477695" cy="169277"/>
          </a:xfrm>
        </p:spPr>
        <p:txBody>
          <a:bodyPr>
            <a:noAutofit/>
          </a:bodyPr>
          <a:lstStyle>
            <a:lvl1pPr>
              <a:buFontTx/>
              <a:buNone/>
              <a:defRPr sz="907" b="0">
                <a:solidFill>
                  <a:schemeClr val="bg1">
                    <a:lumMod val="65000"/>
                  </a:schemeClr>
                </a:solidFill>
              </a:defRPr>
            </a:lvl1pPr>
            <a:lvl2pPr>
              <a:buFontTx/>
              <a:buNone/>
              <a:defRPr sz="743"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p:txBody>
      </p:sp>
      <p:sp>
        <p:nvSpPr>
          <p:cNvPr id="15" name="Text Placeholder 2"/>
          <p:cNvSpPr>
            <a:spLocks noGrp="1"/>
          </p:cNvSpPr>
          <p:nvPr>
            <p:ph type="body" sz="quarter" idx="13"/>
          </p:nvPr>
        </p:nvSpPr>
        <p:spPr>
          <a:xfrm>
            <a:off x="2251560" y="3831758"/>
            <a:ext cx="6477695" cy="643342"/>
          </a:xfrm>
        </p:spPr>
        <p:txBody>
          <a:bodyPr/>
          <a:lstStyle>
            <a:lvl1pPr>
              <a:buFontTx/>
              <a:buNone/>
              <a:defRPr sz="907" b="0">
                <a:solidFill>
                  <a:schemeClr val="bg1">
                    <a:lumMod val="65000"/>
                  </a:schemeClr>
                </a:solidFill>
              </a:defRPr>
            </a:lvl1pPr>
            <a:lvl2pPr>
              <a:buFontTx/>
              <a:buNone/>
              <a:defRPr sz="907"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a:p>
            <a:pPr lvl="1"/>
            <a:r>
              <a:rPr lang="en-US"/>
              <a:t>Second level</a:t>
            </a:r>
          </a:p>
        </p:txBody>
      </p:sp>
      <p:sp>
        <p:nvSpPr>
          <p:cNvPr id="23" name="Text Placeholder 2"/>
          <p:cNvSpPr>
            <a:spLocks noGrp="1"/>
          </p:cNvSpPr>
          <p:nvPr>
            <p:ph type="body" sz="quarter" idx="14"/>
          </p:nvPr>
        </p:nvSpPr>
        <p:spPr>
          <a:xfrm>
            <a:off x="2251559" y="3480007"/>
            <a:ext cx="1989684" cy="119064"/>
          </a:xfrm>
        </p:spPr>
        <p:txBody>
          <a:bodyPr/>
          <a:lstStyle>
            <a:lvl1pPr>
              <a:buFontTx/>
              <a:buNone/>
              <a:defRPr sz="990" b="1">
                <a:solidFill>
                  <a:schemeClr val="tx2"/>
                </a:solidFill>
              </a:defRPr>
            </a:lvl1pPr>
            <a:lvl2pPr>
              <a:buFontTx/>
              <a:buNone/>
              <a:defRPr sz="743"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p:txBody>
      </p:sp>
      <p:sp>
        <p:nvSpPr>
          <p:cNvPr id="24" name="Text Placeholder 2"/>
          <p:cNvSpPr>
            <a:spLocks noGrp="1"/>
          </p:cNvSpPr>
          <p:nvPr>
            <p:ph type="body" sz="quarter" idx="15"/>
          </p:nvPr>
        </p:nvSpPr>
        <p:spPr>
          <a:xfrm>
            <a:off x="4884413" y="3480007"/>
            <a:ext cx="1948046" cy="119064"/>
          </a:xfrm>
        </p:spPr>
        <p:txBody>
          <a:bodyPr/>
          <a:lstStyle>
            <a:lvl1pPr>
              <a:buFontTx/>
              <a:buNone/>
              <a:defRPr sz="990" b="1">
                <a:solidFill>
                  <a:schemeClr val="tx2"/>
                </a:solidFill>
              </a:defRPr>
            </a:lvl1pPr>
            <a:lvl2pPr>
              <a:buFontTx/>
              <a:buNone/>
              <a:defRPr sz="743" b="0">
                <a:solidFill>
                  <a:schemeClr val="bg1">
                    <a:lumMod val="65000"/>
                  </a:schemeClr>
                </a:solidFill>
              </a:defRPr>
            </a:lvl2pPr>
            <a:lvl3pPr marL="0" indent="0">
              <a:buFontTx/>
              <a:buNone/>
              <a:defRPr sz="743" b="0">
                <a:solidFill>
                  <a:schemeClr val="bg1">
                    <a:lumMod val="65000"/>
                  </a:schemeClr>
                </a:solidFill>
              </a:defRPr>
            </a:lvl3pPr>
            <a:lvl4pPr marL="285120" indent="0">
              <a:buFontTx/>
              <a:buNone/>
              <a:defRPr sz="743" b="0">
                <a:solidFill>
                  <a:schemeClr val="bg1">
                    <a:lumMod val="65000"/>
                  </a:schemeClr>
                </a:solidFill>
              </a:defRPr>
            </a:lvl4pPr>
            <a:lvl5pPr marL="445500" indent="0">
              <a:buFontTx/>
              <a:buNone/>
              <a:defRPr sz="743" b="0">
                <a:solidFill>
                  <a:schemeClr val="bg1">
                    <a:lumMod val="65000"/>
                  </a:schemeClr>
                </a:solidFill>
              </a:defRPr>
            </a:lvl5pPr>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84414" y="2974451"/>
            <a:ext cx="109385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51560" y="2974451"/>
            <a:ext cx="2082093" cy="384049"/>
          </a:xfrm>
          <a:prstGeom prst="rect">
            <a:avLst/>
          </a:prstGeom>
        </p:spPr>
      </p:pic>
      <p:sp>
        <p:nvSpPr>
          <p:cNvPr id="11" name="TextBox 10"/>
          <p:cNvSpPr txBox="1"/>
          <p:nvPr userDrawn="1"/>
        </p:nvSpPr>
        <p:spPr>
          <a:xfrm>
            <a:off x="2140333" y="6637578"/>
            <a:ext cx="5736797" cy="135362"/>
          </a:xfrm>
          <a:prstGeom prst="rect">
            <a:avLst/>
          </a:prstGeom>
          <a:noFill/>
        </p:spPr>
        <p:txBody>
          <a:bodyPr wrap="square" lIns="0" tIns="0" rIns="0" bIns="0" rtlCol="0">
            <a:noAutofit/>
          </a:bodyPr>
          <a:lstStyle/>
          <a:p>
            <a:pPr algn="ctr" defTabSz="754380">
              <a:defRPr/>
            </a:pPr>
            <a:r>
              <a:rPr lang="en-GB" sz="495" b="1" dirty="0">
                <a:solidFill>
                  <a:srgbClr val="000000"/>
                </a:solidFill>
              </a:rPr>
              <a:t>Document Classification: KPMG Confidential</a:t>
            </a:r>
          </a:p>
        </p:txBody>
      </p:sp>
    </p:spTree>
    <p:extLst>
      <p:ext uri="{BB962C8B-B14F-4D97-AF65-F5344CB8AC3E}">
        <p14:creationId xmlns:p14="http://schemas.microsoft.com/office/powerpoint/2010/main" val="34057887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ITLE SLIDE 1 - Right light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1"/>
            <a:ext cx="10058400" cy="6858000"/>
          </a:xfrm>
          <a:prstGeom prst="rect">
            <a:avLst/>
          </a:prstGeom>
        </p:spPr>
      </p:pic>
      <p:sp>
        <p:nvSpPr>
          <p:cNvPr id="8" name="Title 1"/>
          <p:cNvSpPr>
            <a:spLocks noGrp="1"/>
          </p:cNvSpPr>
          <p:nvPr>
            <p:ph type="ctrTitle" hasCustomPrompt="1"/>
          </p:nvPr>
        </p:nvSpPr>
        <p:spPr>
          <a:xfrm>
            <a:off x="809182" y="1435300"/>
            <a:ext cx="5429422" cy="3510000"/>
          </a:xfrm>
        </p:spPr>
        <p:txBody>
          <a:bodyPr anchor="t" anchorCtr="0"/>
          <a:lstStyle>
            <a:lvl1pPr algn="l">
              <a:defRPr sz="9075" baseline="0">
                <a:solidFill>
                  <a:schemeClr val="bg1"/>
                </a:solidFill>
              </a:defRPr>
            </a:lvl1pPr>
          </a:lstStyle>
          <a:p>
            <a:r>
              <a:rPr lang="en-GB" dirty="0"/>
              <a:t>Title slide 1</a:t>
            </a:r>
            <a:br>
              <a:rPr lang="en-GB" dirty="0"/>
            </a:br>
            <a:r>
              <a:rPr lang="en-GB" dirty="0"/>
              <a:t>light right vertical image</a:t>
            </a:r>
            <a:endParaRPr lang="en-US" dirty="0"/>
          </a:p>
        </p:txBody>
      </p:sp>
      <p:sp>
        <p:nvSpPr>
          <p:cNvPr id="16" name="Freeform 19"/>
          <p:cNvSpPr>
            <a:spLocks noChangeAspect="1" noEditPoints="1"/>
          </p:cNvSpPr>
          <p:nvPr userDrawn="1"/>
        </p:nvSpPr>
        <p:spPr bwMode="auto">
          <a:xfrm>
            <a:off x="825104"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841851" y="5390900"/>
            <a:ext cx="5396752"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2524253663"/>
      </p:ext>
    </p:extLst>
  </p:cSld>
  <p:clrMapOvr>
    <a:masterClrMapping/>
  </p:clrMapOvr>
  <p:extLst mod="1">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060686" cy="6858000"/>
          </a:xfrm>
          <a:prstGeom prst="rect">
            <a:avLst/>
          </a:prstGeom>
        </p:spPr>
      </p:pic>
      <p:sp>
        <p:nvSpPr>
          <p:cNvPr id="8" name="Title 1"/>
          <p:cNvSpPr>
            <a:spLocks noGrp="1"/>
          </p:cNvSpPr>
          <p:nvPr>
            <p:ph type="ctrTitle" hasCustomPrompt="1"/>
          </p:nvPr>
        </p:nvSpPr>
        <p:spPr>
          <a:xfrm>
            <a:off x="809182" y="1435300"/>
            <a:ext cx="5429422" cy="3510000"/>
          </a:xfrm>
        </p:spPr>
        <p:txBody>
          <a:bodyPr anchor="t" anchorCtr="0"/>
          <a:lstStyle>
            <a:lvl1pPr algn="l">
              <a:defRPr sz="9075" baseline="0">
                <a:solidFill>
                  <a:schemeClr val="bg1"/>
                </a:solidFill>
              </a:defRPr>
            </a:lvl1pPr>
          </a:lstStyle>
          <a:p>
            <a:r>
              <a:rPr lang="en-GB" dirty="0"/>
              <a:t>Title slide 2</a:t>
            </a:r>
            <a:br>
              <a:rPr lang="en-GB" dirty="0"/>
            </a:br>
            <a:r>
              <a:rPr lang="en-GB" dirty="0"/>
              <a:t>right dark vertical image</a:t>
            </a:r>
            <a:endParaRPr lang="en-US" dirty="0"/>
          </a:p>
        </p:txBody>
      </p:sp>
      <p:sp>
        <p:nvSpPr>
          <p:cNvPr id="16" name="Freeform 19"/>
          <p:cNvSpPr>
            <a:spLocks noChangeAspect="1" noEditPoints="1"/>
          </p:cNvSpPr>
          <p:nvPr userDrawn="1"/>
        </p:nvSpPr>
        <p:spPr bwMode="auto">
          <a:xfrm>
            <a:off x="825104"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841851" y="5390900"/>
            <a:ext cx="5396752"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158610734"/>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7" name="Text Placeholder 7"/>
          <p:cNvSpPr>
            <a:spLocks noGrp="1"/>
          </p:cNvSpPr>
          <p:nvPr>
            <p:ph type="body" sz="quarter" idx="11"/>
          </p:nvPr>
        </p:nvSpPr>
        <p:spPr>
          <a:xfrm>
            <a:off x="838200" y="1485900"/>
            <a:ext cx="4023360" cy="1461939"/>
          </a:xfrm>
          <a:prstGeom prst="rect">
            <a:avLst/>
          </a:prstGeom>
        </p:spPr>
        <p:txBody>
          <a:bodyPr vert="horz" lIns="0" tIns="0" rIns="0" bIns="0"/>
          <a:lstStyle>
            <a:lvl1pPr>
              <a:spcBef>
                <a:spcPts val="0"/>
              </a:spcBef>
              <a:defRPr b="1" i="0">
                <a:solidFill>
                  <a:schemeClr val="tx2"/>
                </a:solidFill>
                <a:latin typeface="Univers for KPMG"/>
                <a:cs typeface="Univers for KPMG"/>
              </a:defRPr>
            </a:lvl1pPr>
            <a:lvl2pPr>
              <a:spcBef>
                <a:spcPts val="0"/>
              </a:spcBef>
              <a:defRPr b="0" i="0">
                <a:solidFill>
                  <a:schemeClr val="tx2"/>
                </a:solidFill>
                <a:latin typeface="Univers for KPMG Light"/>
                <a:cs typeface="Univers for KPMG Light"/>
              </a:defRPr>
            </a:lvl2pPr>
            <a:lvl3pPr>
              <a:spcBef>
                <a:spcPts val="0"/>
              </a:spcBef>
              <a:defRPr b="0" i="0">
                <a:solidFill>
                  <a:schemeClr val="tx2"/>
                </a:solidFill>
                <a:latin typeface="Univers for KPMG Light"/>
                <a:cs typeface="Univers for KPMG Light"/>
              </a:defRPr>
            </a:lvl3pPr>
            <a:lvl4pPr>
              <a:spcBef>
                <a:spcPts val="0"/>
              </a:spcBef>
              <a:defRPr b="0" i="0">
                <a:solidFill>
                  <a:schemeClr val="tx2"/>
                </a:solidFill>
                <a:latin typeface="Univers for KPMG Light"/>
                <a:cs typeface="Univers for KPMG Light"/>
              </a:defRPr>
            </a:lvl4pPr>
            <a:lvl5pPr>
              <a:spcBef>
                <a:spcPts val="0"/>
              </a:spcBef>
              <a:defRPr b="0" i="0">
                <a:solidFill>
                  <a:schemeClr val="accent5"/>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 name="Chart Placeholder 4"/>
          <p:cNvSpPr>
            <a:spLocks noGrp="1"/>
          </p:cNvSpPr>
          <p:nvPr>
            <p:ph type="chart" sz="quarter" idx="12"/>
          </p:nvPr>
        </p:nvSpPr>
        <p:spPr>
          <a:xfrm>
            <a:off x="5214303" y="1485900"/>
            <a:ext cx="4023360" cy="4497388"/>
          </a:xfrm>
          <a:prstGeom prst="rect">
            <a:avLst/>
          </a:prstGeom>
        </p:spPr>
        <p:txBody>
          <a:bodyPr lIns="0" tIns="0" rIns="0" bIns="0"/>
          <a:lstStyle>
            <a:lvl1pPr>
              <a:defRPr>
                <a:latin typeface="Univers for KPMG Light"/>
                <a:cs typeface="Univers for KPMG Light"/>
              </a:defRPr>
            </a:lvl1pPr>
          </a:lstStyle>
          <a:p>
            <a:r>
              <a:rPr lang="en-US" smtClean="0"/>
              <a:t>Click icon to add chart</a:t>
            </a:r>
            <a:endParaRPr lang="en-US" dirty="0"/>
          </a:p>
        </p:txBody>
      </p:sp>
    </p:spTree>
    <p:extLst>
      <p:ext uri="{BB962C8B-B14F-4D97-AF65-F5344CB8AC3E}">
        <p14:creationId xmlns:p14="http://schemas.microsoft.com/office/powerpoint/2010/main" val="3090517601"/>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143" y="1"/>
            <a:ext cx="10058400" cy="6858000"/>
          </a:xfrm>
          <a:prstGeom prst="rect">
            <a:avLst/>
          </a:prstGeom>
        </p:spPr>
      </p:pic>
      <p:sp>
        <p:nvSpPr>
          <p:cNvPr id="8" name="Title 1"/>
          <p:cNvSpPr>
            <a:spLocks noGrp="1"/>
          </p:cNvSpPr>
          <p:nvPr>
            <p:ph type="ctrTitle" hasCustomPrompt="1"/>
          </p:nvPr>
        </p:nvSpPr>
        <p:spPr>
          <a:xfrm>
            <a:off x="3979150" y="1435300"/>
            <a:ext cx="5330397" cy="3510000"/>
          </a:xfrm>
        </p:spPr>
        <p:txBody>
          <a:bodyPr anchor="t" anchorCtr="0"/>
          <a:lstStyle>
            <a:lvl1pPr algn="l">
              <a:defRPr sz="9075" baseline="0">
                <a:solidFill>
                  <a:schemeClr val="bg1"/>
                </a:solidFill>
              </a:defRPr>
            </a:lvl1pPr>
          </a:lstStyle>
          <a:p>
            <a:r>
              <a:rPr lang="en-GB" dirty="0"/>
              <a:t>Title slide 3</a:t>
            </a:r>
            <a:br>
              <a:rPr lang="en-GB" dirty="0"/>
            </a:br>
            <a:r>
              <a:rPr lang="en-GB" dirty="0"/>
              <a:t>left light vertical image</a:t>
            </a:r>
            <a:endParaRPr lang="en-US" dirty="0"/>
          </a:p>
        </p:txBody>
      </p:sp>
      <p:sp>
        <p:nvSpPr>
          <p:cNvPr id="16" name="Freeform 19"/>
          <p:cNvSpPr>
            <a:spLocks noChangeAspect="1" noEditPoints="1"/>
          </p:cNvSpPr>
          <p:nvPr userDrawn="1"/>
        </p:nvSpPr>
        <p:spPr bwMode="auto">
          <a:xfrm>
            <a:off x="3995072"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4011819" y="5390900"/>
            <a:ext cx="5297018"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3619793554"/>
      </p:ext>
    </p:extLst>
  </p:cSld>
  <p:clrMapOvr>
    <a:masterClrMapping/>
  </p:clrMapOvr>
  <p:extLst mod="1">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10060686" cy="6858000"/>
          </a:xfrm>
          <a:prstGeom prst="rect">
            <a:avLst/>
          </a:prstGeom>
        </p:spPr>
      </p:pic>
      <p:sp>
        <p:nvSpPr>
          <p:cNvPr id="8" name="Title 1"/>
          <p:cNvSpPr>
            <a:spLocks noGrp="1"/>
          </p:cNvSpPr>
          <p:nvPr>
            <p:ph type="ctrTitle" hasCustomPrompt="1"/>
          </p:nvPr>
        </p:nvSpPr>
        <p:spPr>
          <a:xfrm>
            <a:off x="3206115" y="1435300"/>
            <a:ext cx="6033731" cy="3510000"/>
          </a:xfrm>
        </p:spPr>
        <p:txBody>
          <a:bodyPr anchor="t" anchorCtr="0"/>
          <a:lstStyle>
            <a:lvl1pPr algn="l">
              <a:defRPr sz="9075" baseline="0">
                <a:solidFill>
                  <a:schemeClr val="bg1"/>
                </a:solidFill>
              </a:defRPr>
            </a:lvl1pPr>
          </a:lstStyle>
          <a:p>
            <a:r>
              <a:rPr lang="en-GB" dirty="0"/>
              <a:t>Title slide 4</a:t>
            </a:r>
            <a:br>
              <a:rPr lang="en-GB" dirty="0"/>
            </a:br>
            <a:r>
              <a:rPr lang="en-GB" dirty="0"/>
              <a:t>left dark vertical image</a:t>
            </a:r>
            <a:endParaRPr lang="en-US" dirty="0"/>
          </a:p>
        </p:txBody>
      </p:sp>
      <p:sp>
        <p:nvSpPr>
          <p:cNvPr id="16" name="Freeform 19"/>
          <p:cNvSpPr>
            <a:spLocks noChangeAspect="1" noEditPoints="1"/>
          </p:cNvSpPr>
          <p:nvPr userDrawn="1"/>
        </p:nvSpPr>
        <p:spPr bwMode="auto">
          <a:xfrm>
            <a:off x="3222037"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7" name="Text Placeholder 3"/>
          <p:cNvSpPr>
            <a:spLocks noGrp="1"/>
          </p:cNvSpPr>
          <p:nvPr>
            <p:ph type="body" sz="quarter" idx="11"/>
          </p:nvPr>
        </p:nvSpPr>
        <p:spPr>
          <a:xfrm>
            <a:off x="3238784" y="5390900"/>
            <a:ext cx="5995947"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278622888"/>
      </p:ext>
    </p:extLst>
  </p:cSld>
  <p:clrMapOvr>
    <a:masterClrMapping/>
  </p:clrMapOvr>
  <p:extLst mod="1">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86" y="1"/>
            <a:ext cx="10060686" cy="6858000"/>
          </a:xfrm>
          <a:prstGeom prst="rect">
            <a:avLst/>
          </a:prstGeom>
        </p:spPr>
      </p:pic>
      <p:sp>
        <p:nvSpPr>
          <p:cNvPr id="17"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8" name="Title 1"/>
          <p:cNvSpPr>
            <a:spLocks noGrp="1"/>
          </p:cNvSpPr>
          <p:nvPr>
            <p:ph type="ctrTitle" hasCustomPrompt="1"/>
          </p:nvPr>
        </p:nvSpPr>
        <p:spPr>
          <a:xfrm>
            <a:off x="2235637" y="1435300"/>
            <a:ext cx="5793767" cy="3510000"/>
          </a:xfrm>
        </p:spPr>
        <p:txBody>
          <a:bodyPr anchor="t" anchorCtr="0"/>
          <a:lstStyle>
            <a:lvl1pPr algn="l">
              <a:defRPr sz="9075"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16"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7" name="Text Placeholder 3"/>
          <p:cNvSpPr>
            <a:spLocks noGrp="1"/>
          </p:cNvSpPr>
          <p:nvPr>
            <p:ph type="body" sz="quarter" idx="11"/>
          </p:nvPr>
        </p:nvSpPr>
        <p:spPr>
          <a:xfrm>
            <a:off x="2268307" y="5390900"/>
            <a:ext cx="5761097"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1602470123"/>
      </p:ext>
    </p:extLst>
  </p:cSld>
  <p:clrMapOvr>
    <a:masterClrMapping/>
  </p:clrMapOvr>
  <p:extLst mod="1">
    <p:ext uri="{DCECCB84-F9BA-43D5-87BE-67443E8EF086}">
      <p15:sldGuideLst xmlns:p15="http://schemas.microsoft.com/office/powerpoint/2012/main">
        <p15:guide id="1" pos="173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7" name="object 3"/>
          <p:cNvSpPr/>
          <p:nvPr userDrawn="1"/>
        </p:nvSpPr>
        <p:spPr>
          <a:xfrm>
            <a:off x="0" y="1"/>
            <a:ext cx="130987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754380"/>
            <a:endParaRPr sz="1485" dirty="0">
              <a:solidFill>
                <a:srgbClr val="000000"/>
              </a:solidFill>
            </a:endParaRPr>
          </a:p>
        </p:txBody>
      </p:sp>
      <p:sp>
        <p:nvSpPr>
          <p:cNvPr id="8" name="Title 1"/>
          <p:cNvSpPr>
            <a:spLocks noGrp="1"/>
          </p:cNvSpPr>
          <p:nvPr>
            <p:ph type="ctrTitle" hasCustomPrompt="1"/>
          </p:nvPr>
        </p:nvSpPr>
        <p:spPr>
          <a:xfrm>
            <a:off x="2235637" y="1435300"/>
            <a:ext cx="7004209" cy="3510000"/>
          </a:xfrm>
        </p:spPr>
        <p:txBody>
          <a:bodyPr anchor="t" anchorCtr="0"/>
          <a:lstStyle>
            <a:lvl1pPr algn="l">
              <a:defRPr sz="9075" baseline="0">
                <a:solidFill>
                  <a:schemeClr val="bg1"/>
                </a:solidFill>
              </a:defRPr>
            </a:lvl1pPr>
          </a:lstStyle>
          <a:p>
            <a:r>
              <a:rPr lang="en-GB" dirty="0"/>
              <a:t>Title Slide 6 – </a:t>
            </a:r>
            <a:br>
              <a:rPr lang="en-GB" dirty="0"/>
            </a:br>
            <a:r>
              <a:rPr lang="en-GB" dirty="0"/>
              <a:t>no image</a:t>
            </a:r>
            <a:endParaRPr lang="en-US" dirty="0"/>
          </a:p>
        </p:txBody>
      </p:sp>
      <p:sp>
        <p:nvSpPr>
          <p:cNvPr id="10" name="Freeform 19"/>
          <p:cNvSpPr>
            <a:spLocks noChangeAspect="1" noEditPoints="1"/>
          </p:cNvSpPr>
          <p:nvPr userDrawn="1"/>
        </p:nvSpPr>
        <p:spPr bwMode="auto">
          <a:xfrm>
            <a:off x="2251559" y="524433"/>
            <a:ext cx="890299"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
        <p:nvSpPr>
          <p:cNvPr id="6" name="Text Placeholder 3"/>
          <p:cNvSpPr>
            <a:spLocks noGrp="1"/>
          </p:cNvSpPr>
          <p:nvPr>
            <p:ph type="body" sz="quarter" idx="11"/>
          </p:nvPr>
        </p:nvSpPr>
        <p:spPr>
          <a:xfrm>
            <a:off x="2268307" y="5390900"/>
            <a:ext cx="6971539" cy="216000"/>
          </a:xfrm>
        </p:spPr>
        <p:txBody>
          <a:bodyPr/>
          <a:lstStyle>
            <a:lvl1pPr>
              <a:defRPr sz="907">
                <a:solidFill>
                  <a:schemeClr val="bg1"/>
                </a:solidFill>
              </a:defRPr>
            </a:lvl1pPr>
            <a:lvl2pPr>
              <a:defRPr sz="907">
                <a:solidFill>
                  <a:schemeClr val="bg1"/>
                </a:solidFill>
              </a:defRPr>
            </a:lvl2pPr>
            <a:lvl3pPr>
              <a:buClr>
                <a:schemeClr val="bg1"/>
              </a:buClr>
              <a:defRPr sz="907">
                <a:solidFill>
                  <a:schemeClr val="bg1"/>
                </a:solidFill>
              </a:defRPr>
            </a:lvl3pPr>
            <a:lvl4pPr>
              <a:buClr>
                <a:schemeClr val="bg1"/>
              </a:buClr>
              <a:defRPr sz="907">
                <a:solidFill>
                  <a:schemeClr val="bg1"/>
                </a:solidFill>
              </a:defRPr>
            </a:lvl4pPr>
            <a:lvl5pPr>
              <a:buClr>
                <a:schemeClr val="bg1"/>
              </a:buClr>
              <a:defRPr sz="907">
                <a:solidFill>
                  <a:schemeClr val="bg1"/>
                </a:solidFill>
              </a:defRPr>
            </a:lvl5pPr>
          </a:lstStyle>
          <a:p>
            <a:pPr lvl="0"/>
            <a:r>
              <a:rPr lang="en-US"/>
              <a:t>Edit Master text styles</a:t>
            </a:r>
          </a:p>
        </p:txBody>
      </p:sp>
    </p:spTree>
    <p:extLst>
      <p:ext uri="{BB962C8B-B14F-4D97-AF65-F5344CB8AC3E}">
        <p14:creationId xmlns:p14="http://schemas.microsoft.com/office/powerpoint/2010/main" val="41281518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0125559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23680" y="1330126"/>
            <a:ext cx="841104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823475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1330126"/>
            <a:ext cx="40986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5132160" y="1330126"/>
            <a:ext cx="40986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2652582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1330126"/>
            <a:ext cx="40986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5132160" y="1330126"/>
            <a:ext cx="4098600" cy="45468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30283961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5132160" y="1330126"/>
            <a:ext cx="4098600" cy="45468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827640" y="1330126"/>
            <a:ext cx="4098600" cy="454680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26261251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827640" y="432000"/>
            <a:ext cx="840312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27640" y="3742126"/>
            <a:ext cx="841104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827640" y="1331360"/>
            <a:ext cx="8411040" cy="2135740"/>
          </a:xfrm>
        </p:spPr>
        <p:txBody>
          <a:bodyPr anchor="ctr"/>
          <a:lstStyle>
            <a:lvl1pPr algn="ctr">
              <a:defRPr/>
            </a:lvl1pPr>
          </a:lstStyle>
          <a:p>
            <a:r>
              <a:rPr lang="en-US"/>
              <a:t>Click icon to add chart</a:t>
            </a:r>
            <a:endParaRPr lang="en-GB" dirty="0"/>
          </a:p>
        </p:txBody>
      </p:sp>
    </p:spTree>
    <p:extLst>
      <p:ext uri="{BB962C8B-B14F-4D97-AF65-F5344CB8AC3E}">
        <p14:creationId xmlns:p14="http://schemas.microsoft.com/office/powerpoint/2010/main" val="998877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 name="Shape 8"/>
          <p:cNvSpPr txBox="1">
            <a:spLocks/>
          </p:cNvSpPr>
          <p:nvPr/>
        </p:nvSpPr>
        <p:spPr>
          <a:xfrm>
            <a:off x="7916333" y="6379415"/>
            <a:ext cx="132133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LT Std 55 Roman"/>
                <a:ea typeface="Univers LT Std 55 Roman"/>
                <a:cs typeface="Univers LT Std 55 Roman"/>
                <a:sym typeface="Univers LT Std 55 Roman"/>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Univers for KPMG"/>
                <a:ea typeface="Univers for KPMG"/>
                <a:cs typeface="Univers for KPMG"/>
              </a:rPr>
              <a:pPr algn="r"/>
              <a:t>‹Nr.›</a:t>
            </a:fld>
            <a:endParaRPr lang="en-US" sz="1000" dirty="0">
              <a:solidFill>
                <a:schemeClr val="tx2"/>
              </a:solidFill>
              <a:latin typeface="Univers for KPMG"/>
              <a:ea typeface="Univers for KPMG"/>
              <a:cs typeface="Univers for KPMG"/>
            </a:endParaRPr>
          </a:p>
        </p:txBody>
      </p:sp>
      <p:sp>
        <p:nvSpPr>
          <p:cNvPr id="77" name="Shape 36"/>
          <p:cNvSpPr/>
          <p:nvPr/>
        </p:nvSpPr>
        <p:spPr>
          <a:xfrm>
            <a:off x="1905001" y="6320118"/>
            <a:ext cx="6400801" cy="403412"/>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914400">
              <a:defRPr sz="800">
                <a:solidFill>
                  <a:srgbClr val="004C97"/>
                </a:solidFill>
                <a:latin typeface="Univers LT Std 45 Light"/>
                <a:ea typeface="Univers LT Std 45 Light"/>
                <a:cs typeface="Univers LT Std 45 Light"/>
                <a:sym typeface="Univers LT Std 45 Light"/>
              </a:defRPr>
            </a:lvl1pPr>
          </a:lstStyle>
          <a:p>
            <a:pPr lvl="0">
              <a:defRPr sz="1800">
                <a:solidFill>
                  <a:srgbClr val="000000"/>
                </a:solidFill>
              </a:defRPr>
            </a:pPr>
            <a:r>
              <a:rPr lang="en-US" sz="600" dirty="0" smtClean="0">
                <a:solidFill>
                  <a:schemeClr val="bg1">
                    <a:lumMod val="65000"/>
                  </a:schemeClr>
                </a:solidFill>
                <a:latin typeface="Univers for KPMG Light"/>
                <a:ea typeface="Univers for KPMG Light"/>
                <a:cs typeface="Univers for KPMG Light"/>
              </a:rPr>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The KPMG name and logo are registered trademarks or trademarks of KPMG International.</a:t>
            </a:r>
            <a:endParaRPr sz="600" dirty="0">
              <a:solidFill>
                <a:schemeClr val="bg1">
                  <a:lumMod val="65000"/>
                </a:schemeClr>
              </a:solidFill>
              <a:latin typeface="Univers for KPMG Light"/>
              <a:ea typeface="Univers for KPMG Light"/>
              <a:cs typeface="Univers for KPMG Light"/>
            </a:endParaRPr>
          </a:p>
        </p:txBody>
      </p:sp>
      <p:sp>
        <p:nvSpPr>
          <p:cNvPr id="78" name="Title Placeholder 77"/>
          <p:cNvSpPr>
            <a:spLocks noGrp="1"/>
          </p:cNvSpPr>
          <p:nvPr>
            <p:ph type="title"/>
          </p:nvPr>
        </p:nvSpPr>
        <p:spPr>
          <a:xfrm>
            <a:off x="838200" y="432904"/>
            <a:ext cx="8399463" cy="516795"/>
          </a:xfrm>
          <a:prstGeom prst="rect">
            <a:avLst/>
          </a:prstGeom>
          <a:noFill/>
        </p:spPr>
        <p:txBody>
          <a:bodyPr vert="horz" lIns="0" tIns="0" rIns="0" bIns="0" rtlCol="0" anchor="t" anchorCtr="0">
            <a:noAutofit/>
          </a:bodyPr>
          <a:lstStyle/>
          <a:p>
            <a:r>
              <a:rPr lang="en-US" smtClean="0"/>
              <a:t>Click to edit Master title style</a:t>
            </a:r>
            <a:endParaRPr lang="en-US" dirty="0"/>
          </a:p>
        </p:txBody>
      </p:sp>
      <p:pic>
        <p:nvPicPr>
          <p:cNvPr id="35" name="Picture 34" descr="KPMG_NoCP_PMS287_US_283_6779.eps"/>
          <p:cNvPicPr>
            <a:picLocks noChangeAspect="1"/>
          </p:cNvPicPr>
          <p:nvPr/>
        </p:nvPicPr>
        <p:blipFill rotWithShape="1">
          <a:blip r:embed="rId21" cstate="email">
            <a:extLst>
              <a:ext uri="{28A0092B-C50C-407E-A947-70E740481C1C}">
                <a14:useLocalDpi xmlns:a14="http://schemas.microsoft.com/office/drawing/2010/main"/>
              </a:ext>
            </a:extLst>
          </a:blip>
          <a:srcRect l="7057" t="24107" r="10265" b="24107"/>
          <a:stretch/>
        </p:blipFill>
        <p:spPr>
          <a:xfrm>
            <a:off x="805545" y="6320117"/>
            <a:ext cx="537530" cy="248668"/>
          </a:xfrm>
          <a:prstGeom prst="rect">
            <a:avLst/>
          </a:prstGeom>
        </p:spPr>
      </p:pic>
      <p:sp>
        <p:nvSpPr>
          <p:cNvPr id="2" name="Text Placeholder 1"/>
          <p:cNvSpPr>
            <a:spLocks noGrp="1"/>
          </p:cNvSpPr>
          <p:nvPr>
            <p:ph type="body" idx="1"/>
          </p:nvPr>
        </p:nvSpPr>
        <p:spPr>
          <a:xfrm>
            <a:off x="841248" y="1527048"/>
            <a:ext cx="8402637" cy="1461939"/>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6" r:id="rId1"/>
    <p:sldLayoutId id="2147483739" r:id="rId2"/>
    <p:sldLayoutId id="2147483740" r:id="rId3"/>
    <p:sldLayoutId id="2147483738" r:id="rId4"/>
    <p:sldLayoutId id="2147483667" r:id="rId5"/>
    <p:sldLayoutId id="2147483668" r:id="rId6"/>
    <p:sldLayoutId id="2147483715" r:id="rId7"/>
    <p:sldLayoutId id="2147483714" r:id="rId8"/>
    <p:sldLayoutId id="2147483669" r:id="rId9"/>
    <p:sldLayoutId id="2147483716" r:id="rId10"/>
    <p:sldLayoutId id="2147483722" r:id="rId11"/>
    <p:sldLayoutId id="2147483670" r:id="rId12"/>
    <p:sldLayoutId id="2147483709" r:id="rId13"/>
    <p:sldLayoutId id="2147483718" r:id="rId14"/>
    <p:sldLayoutId id="2147483717" r:id="rId15"/>
    <p:sldLayoutId id="2147483719" r:id="rId16"/>
    <p:sldLayoutId id="2147483720" r:id="rId17"/>
    <p:sldLayoutId id="2147483721" r:id="rId18"/>
    <p:sldLayoutId id="2147483742" r:id="rId19"/>
  </p:sldLayoutIdLst>
  <p:timing>
    <p:tnLst>
      <p:par>
        <p:cTn id="1" dur="indefinite" restart="never" nodeType="tmRoot"/>
      </p:par>
    </p:tnLst>
  </p:timing>
  <p:txStyles>
    <p:titleStyle>
      <a:lvl1pPr eaLnBrk="1" hangingPunct="1">
        <a:lnSpc>
          <a:spcPct val="70000"/>
        </a:lnSpc>
        <a:defRPr sz="5400" b="0" i="0">
          <a:solidFill>
            <a:schemeClr val="tx2"/>
          </a:solidFill>
          <a:latin typeface="KPMG Extralight"/>
          <a:cs typeface="KPMG Extralight"/>
        </a:defRPr>
      </a:lvl1pPr>
    </p:titleStyle>
    <p:body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Lucida Grande"/>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Lucida Grande"/>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p:bodyStyle>
    <p:otherStyle/>
  </p:txStyles>
  <p:extLst mod="1">
    <p:ext uri="{27BBF7A9-308A-43DC-89C8-2F10F3537804}">
      <p15:sldGuideLst xmlns:p15="http://schemas.microsoft.com/office/powerpoint/2012/main">
        <p15:guide id="1" orient="horz" pos="600" userDrawn="1">
          <p15:clr>
            <a:srgbClr val="F26B43"/>
          </p15:clr>
        </p15:guide>
        <p15:guide id="2" pos="528" userDrawn="1">
          <p15:clr>
            <a:srgbClr val="F26B43"/>
          </p15:clr>
        </p15:guide>
        <p15:guide id="3" pos="5760" userDrawn="1">
          <p15:clr>
            <a:srgbClr val="F26B43"/>
          </p15:clr>
        </p15:guide>
        <p15:guide id="4" orient="horz" pos="296" userDrawn="1">
          <p15:clr>
            <a:srgbClr val="F26B43"/>
          </p15:clr>
        </p15:guide>
        <p15:guide id="5" orient="horz" pos="936" userDrawn="1">
          <p15:clr>
            <a:srgbClr val="F26B43"/>
          </p15:clr>
        </p15:guide>
        <p15:guide id="6" orient="horz" pos="3769" userDrawn="1">
          <p15:clr>
            <a:srgbClr val="F26B43"/>
          </p15:clr>
        </p15:guide>
        <p15:guide id="7" pos="3072" userDrawn="1">
          <p15:clr>
            <a:srgbClr val="F26B43"/>
          </p15:clr>
        </p15:guide>
        <p15:guide id="8" pos="32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3680" y="431800"/>
            <a:ext cx="8411040" cy="533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27641" y="1331360"/>
            <a:ext cx="8410438" cy="454556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8860037" y="6266997"/>
            <a:ext cx="3709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825" smtClean="0">
                <a:solidFill>
                  <a:srgbClr val="00338D"/>
                </a:solidFill>
                <a:cs typeface="Arial" panose="020B0604020202020204" pitchFamily="34" charset="0"/>
              </a:rPr>
              <a:pPr algn="r"/>
              <a:t>‹Nr.›</a:t>
            </a:fld>
            <a:endParaRPr lang="en-US" sz="825" dirty="0">
              <a:solidFill>
                <a:srgbClr val="00338D"/>
              </a:solidFill>
              <a:cs typeface="Arial" panose="020B0604020202020204" pitchFamily="34" charset="0"/>
            </a:endParaRPr>
          </a:p>
        </p:txBody>
      </p:sp>
      <p:sp>
        <p:nvSpPr>
          <p:cNvPr id="30" name="TextBox 29"/>
          <p:cNvSpPr txBox="1"/>
          <p:nvPr userDrawn="1"/>
        </p:nvSpPr>
        <p:spPr>
          <a:xfrm>
            <a:off x="1843821" y="6266997"/>
            <a:ext cx="6399360" cy="370800"/>
          </a:xfrm>
          <a:prstGeom prst="rect">
            <a:avLst/>
          </a:prstGeom>
          <a:noFill/>
        </p:spPr>
        <p:txBody>
          <a:bodyPr wrap="square" lIns="0" tIns="0" rIns="0" bIns="0" rtlCol="0">
            <a:noAutofit/>
          </a:bodyPr>
          <a:lstStyle/>
          <a:p>
            <a:pPr defTabSz="754380">
              <a:defRPr/>
            </a:pPr>
            <a:r>
              <a:rPr lang="en-US" sz="495" dirty="0">
                <a:solidFill>
                  <a:prstClr val="white">
                    <a:lumMod val="65000"/>
                  </a:prstClr>
                </a:solidFill>
              </a:rPr>
              <a:t>© [year] [legal member firm name], a [jurisdiction] [legal structure] and a member firm of the KPMG network of independent member firms affiliated with KPMG International Cooperative, a Swiss entity. All rights reserved.</a:t>
            </a:r>
            <a:endParaRPr lang="en-GB" sz="495" dirty="0">
              <a:solidFill>
                <a:prstClr val="white">
                  <a:lumMod val="65000"/>
                </a:prstClr>
              </a:solidFill>
            </a:endParaRPr>
          </a:p>
        </p:txBody>
      </p:sp>
      <p:sp>
        <p:nvSpPr>
          <p:cNvPr id="25" name="TextBox 24"/>
          <p:cNvSpPr txBox="1"/>
          <p:nvPr userDrawn="1"/>
        </p:nvSpPr>
        <p:spPr>
          <a:xfrm>
            <a:off x="2140333" y="6637578"/>
            <a:ext cx="5736797" cy="135362"/>
          </a:xfrm>
          <a:prstGeom prst="rect">
            <a:avLst/>
          </a:prstGeom>
          <a:noFill/>
        </p:spPr>
        <p:txBody>
          <a:bodyPr wrap="square" lIns="0" tIns="0" rIns="0" bIns="0" rtlCol="0">
            <a:noAutofit/>
          </a:bodyPr>
          <a:lstStyle/>
          <a:p>
            <a:pPr algn="ctr" defTabSz="754380">
              <a:defRPr/>
            </a:pPr>
            <a:r>
              <a:rPr lang="en-GB" sz="495" b="1" dirty="0">
                <a:solidFill>
                  <a:srgbClr val="000000"/>
                </a:solidFill>
              </a:rPr>
              <a:t>Document Classification: KPMG Confidential</a:t>
            </a:r>
          </a:p>
        </p:txBody>
      </p:sp>
      <p:sp>
        <p:nvSpPr>
          <p:cNvPr id="26"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357198668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Lst>
  <p:txStyles>
    <p:titleStyle>
      <a:lvl1pPr algn="l" defTabSz="754380" rtl="0" eaLnBrk="1" latinLnBrk="0" hangingPunct="1">
        <a:lnSpc>
          <a:spcPct val="70000"/>
        </a:lnSpc>
        <a:spcBef>
          <a:spcPct val="0"/>
        </a:spcBef>
        <a:buNone/>
        <a:defRPr sz="4455" kern="1200">
          <a:solidFill>
            <a:schemeClr val="tx2"/>
          </a:solidFill>
          <a:latin typeface="+mj-lt"/>
          <a:ea typeface="+mj-ea"/>
          <a:cs typeface="+mj-cs"/>
        </a:defRPr>
      </a:lvl1pPr>
    </p:titleStyle>
    <p:bodyStyle>
      <a:lvl1pPr marL="0" indent="0" algn="l" defTabSz="754380" rtl="0" eaLnBrk="1" latinLnBrk="0" hangingPunct="1">
        <a:lnSpc>
          <a:spcPct val="100000"/>
        </a:lnSpc>
        <a:spcBef>
          <a:spcPts val="0"/>
        </a:spcBef>
        <a:spcAft>
          <a:spcPts val="495"/>
        </a:spcAft>
        <a:buFontTx/>
        <a:buNone/>
        <a:defRPr sz="1238" b="1" kern="1200">
          <a:solidFill>
            <a:schemeClr val="tx2"/>
          </a:solidFill>
          <a:latin typeface="+mn-lt"/>
          <a:ea typeface="+mn-ea"/>
          <a:cs typeface="+mn-cs"/>
        </a:defRPr>
      </a:lvl1pPr>
      <a:lvl2pPr marL="0" indent="0" algn="l" defTabSz="754380" rtl="0" eaLnBrk="1" latinLnBrk="0" hangingPunct="1">
        <a:lnSpc>
          <a:spcPct val="100000"/>
        </a:lnSpc>
        <a:spcBef>
          <a:spcPts val="0"/>
        </a:spcBef>
        <a:spcAft>
          <a:spcPts val="495"/>
        </a:spcAft>
        <a:buFontTx/>
        <a:buNone/>
        <a:defRPr sz="1238" kern="1200">
          <a:solidFill>
            <a:schemeClr val="tx2"/>
          </a:solidFill>
          <a:latin typeface="+mn-lt"/>
          <a:ea typeface="+mn-ea"/>
          <a:cs typeface="+mn-cs"/>
        </a:defRPr>
      </a:lvl2pPr>
      <a:lvl3pPr marL="234630" indent="-23463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3pPr>
      <a:lvl4pPr marL="475200" indent="-19008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4pPr>
      <a:lvl5pPr marL="680130" indent="-23463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baseline="0">
          <a:solidFill>
            <a:schemeClr val="tx2"/>
          </a:solidFill>
          <a:latin typeface="+mn-lt"/>
          <a:ea typeface="+mn-ea"/>
          <a:cs typeface="+mn-cs"/>
        </a:defRPr>
      </a:lvl5pPr>
      <a:lvl6pPr marL="905850" indent="-19008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6pPr>
      <a:lvl7pPr marL="1131570" indent="-23463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7pPr>
      <a:lvl8pPr marL="1357290" indent="-188595"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p:bodyStyle>
    <p:otherStyle>
      <a:defPPr>
        <a:defRPr lang="en-US"/>
      </a:defPPr>
      <a:lvl1pPr marL="0" algn="l" defTabSz="754380" rtl="0" eaLnBrk="1" latinLnBrk="0" hangingPunct="1">
        <a:defRPr sz="1485" kern="1200">
          <a:solidFill>
            <a:schemeClr val="tx1"/>
          </a:solidFill>
          <a:latin typeface="+mn-lt"/>
          <a:ea typeface="+mn-ea"/>
          <a:cs typeface="+mn-cs"/>
        </a:defRPr>
      </a:lvl1pPr>
      <a:lvl2pPr marL="377190" algn="l" defTabSz="754380" rtl="0" eaLnBrk="1" latinLnBrk="0" hangingPunct="1">
        <a:defRPr sz="1485" kern="1200">
          <a:solidFill>
            <a:schemeClr val="tx1"/>
          </a:solidFill>
          <a:latin typeface="+mn-lt"/>
          <a:ea typeface="+mn-ea"/>
          <a:cs typeface="+mn-cs"/>
        </a:defRPr>
      </a:lvl2pPr>
      <a:lvl3pPr marL="754380" algn="l" defTabSz="754380" rtl="0" eaLnBrk="1" latinLnBrk="0" hangingPunct="1">
        <a:defRPr sz="1485" kern="1200">
          <a:solidFill>
            <a:schemeClr val="tx1"/>
          </a:solidFill>
          <a:latin typeface="+mn-lt"/>
          <a:ea typeface="+mn-ea"/>
          <a:cs typeface="+mn-cs"/>
        </a:defRPr>
      </a:lvl3pPr>
      <a:lvl4pPr marL="1131570" algn="l" defTabSz="754380" rtl="0" eaLnBrk="1" latinLnBrk="0" hangingPunct="1">
        <a:defRPr sz="1485" kern="1200">
          <a:solidFill>
            <a:schemeClr val="tx1"/>
          </a:solidFill>
          <a:latin typeface="+mn-lt"/>
          <a:ea typeface="+mn-ea"/>
          <a:cs typeface="+mn-cs"/>
        </a:defRPr>
      </a:lvl4pPr>
      <a:lvl5pPr marL="1508760" algn="l" defTabSz="754380" rtl="0" eaLnBrk="1" latinLnBrk="0" hangingPunct="1">
        <a:defRPr sz="1485" kern="1200">
          <a:solidFill>
            <a:schemeClr val="tx1"/>
          </a:solidFill>
          <a:latin typeface="+mn-lt"/>
          <a:ea typeface="+mn-ea"/>
          <a:cs typeface="+mn-cs"/>
        </a:defRPr>
      </a:lvl5pPr>
      <a:lvl6pPr marL="1885950" algn="l" defTabSz="754380" rtl="0" eaLnBrk="1" latinLnBrk="0" hangingPunct="1">
        <a:defRPr sz="1485" kern="1200">
          <a:solidFill>
            <a:schemeClr val="tx1"/>
          </a:solidFill>
          <a:latin typeface="+mn-lt"/>
          <a:ea typeface="+mn-ea"/>
          <a:cs typeface="+mn-cs"/>
        </a:defRPr>
      </a:lvl6pPr>
      <a:lvl7pPr marL="2263140" algn="l" defTabSz="754380" rtl="0" eaLnBrk="1" latinLnBrk="0" hangingPunct="1">
        <a:defRPr sz="1485" kern="1200">
          <a:solidFill>
            <a:schemeClr val="tx1"/>
          </a:solidFill>
          <a:latin typeface="+mn-lt"/>
          <a:ea typeface="+mn-ea"/>
          <a:cs typeface="+mn-cs"/>
        </a:defRPr>
      </a:lvl7pPr>
      <a:lvl8pPr marL="2640330" algn="l" defTabSz="754380" rtl="0" eaLnBrk="1" latinLnBrk="0" hangingPunct="1">
        <a:defRPr sz="1485" kern="1200">
          <a:solidFill>
            <a:schemeClr val="tx1"/>
          </a:solidFill>
          <a:latin typeface="+mn-lt"/>
          <a:ea typeface="+mn-ea"/>
          <a:cs typeface="+mn-cs"/>
        </a:defRPr>
      </a:lvl8pPr>
      <a:lvl9pPr marL="3017520" algn="l" defTabSz="754380" rtl="0" eaLnBrk="1" latinLnBrk="0" hangingPunct="1">
        <a:defRPr sz="148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3680" y="431800"/>
            <a:ext cx="8411040" cy="533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27641" y="1331360"/>
            <a:ext cx="8410438" cy="454556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8860037" y="6266997"/>
            <a:ext cx="3709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825" smtClean="0">
                <a:solidFill>
                  <a:srgbClr val="00338D"/>
                </a:solidFill>
                <a:cs typeface="Arial" panose="020B0604020202020204" pitchFamily="34" charset="0"/>
              </a:rPr>
              <a:pPr algn="r"/>
              <a:t>‹Nr.›</a:t>
            </a:fld>
            <a:endParaRPr lang="en-US" sz="825" dirty="0">
              <a:solidFill>
                <a:srgbClr val="00338D"/>
              </a:solidFill>
              <a:cs typeface="Arial" panose="020B0604020202020204" pitchFamily="34" charset="0"/>
            </a:endParaRPr>
          </a:p>
        </p:txBody>
      </p:sp>
      <p:sp>
        <p:nvSpPr>
          <p:cNvPr id="30" name="TextBox 29"/>
          <p:cNvSpPr txBox="1"/>
          <p:nvPr userDrawn="1"/>
        </p:nvSpPr>
        <p:spPr>
          <a:xfrm>
            <a:off x="1843821" y="6266997"/>
            <a:ext cx="6399360" cy="370800"/>
          </a:xfrm>
          <a:prstGeom prst="rect">
            <a:avLst/>
          </a:prstGeom>
          <a:noFill/>
        </p:spPr>
        <p:txBody>
          <a:bodyPr wrap="square" lIns="0" tIns="0" rIns="0" bIns="0" rtlCol="0">
            <a:noAutofit/>
          </a:bodyPr>
          <a:lstStyle/>
          <a:p>
            <a:pPr defTabSz="754380">
              <a:defRPr/>
            </a:pPr>
            <a:r>
              <a:rPr lang="en-US" sz="495" dirty="0">
                <a:solidFill>
                  <a:prstClr val="white">
                    <a:lumMod val="65000"/>
                  </a:prstClr>
                </a:solidFill>
              </a:rPr>
              <a:t>© [year] [legal member firm name], a [jurisdiction] [legal structure] and a member firm of the KPMG network of independent member firms affiliated with KPMG International Cooperative, a Swiss entity. All rights reserved.</a:t>
            </a:r>
            <a:endParaRPr lang="en-GB" sz="495" dirty="0">
              <a:solidFill>
                <a:prstClr val="white">
                  <a:lumMod val="65000"/>
                </a:prstClr>
              </a:solidFill>
            </a:endParaRPr>
          </a:p>
        </p:txBody>
      </p:sp>
      <p:sp>
        <p:nvSpPr>
          <p:cNvPr id="25" name="TextBox 24"/>
          <p:cNvSpPr txBox="1"/>
          <p:nvPr userDrawn="1"/>
        </p:nvSpPr>
        <p:spPr>
          <a:xfrm>
            <a:off x="2140333" y="6637578"/>
            <a:ext cx="5736797" cy="135362"/>
          </a:xfrm>
          <a:prstGeom prst="rect">
            <a:avLst/>
          </a:prstGeom>
          <a:noFill/>
        </p:spPr>
        <p:txBody>
          <a:bodyPr wrap="square" lIns="0" tIns="0" rIns="0" bIns="0" rtlCol="0">
            <a:noAutofit/>
          </a:bodyPr>
          <a:lstStyle/>
          <a:p>
            <a:pPr algn="ctr" defTabSz="754380">
              <a:defRPr/>
            </a:pPr>
            <a:r>
              <a:rPr lang="en-GB" sz="495" b="1" dirty="0">
                <a:solidFill>
                  <a:srgbClr val="000000"/>
                </a:solidFill>
              </a:rPr>
              <a:t>Document Classification: KPMG Confidential</a:t>
            </a:r>
          </a:p>
        </p:txBody>
      </p:sp>
      <p:sp>
        <p:nvSpPr>
          <p:cNvPr id="26"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412633190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Lst>
  <p:txStyles>
    <p:titleStyle>
      <a:lvl1pPr algn="l" defTabSz="754380" rtl="0" eaLnBrk="1" latinLnBrk="0" hangingPunct="1">
        <a:lnSpc>
          <a:spcPct val="70000"/>
        </a:lnSpc>
        <a:spcBef>
          <a:spcPct val="0"/>
        </a:spcBef>
        <a:buNone/>
        <a:defRPr sz="4455" kern="1200">
          <a:solidFill>
            <a:schemeClr val="tx2"/>
          </a:solidFill>
          <a:latin typeface="+mj-lt"/>
          <a:ea typeface="+mj-ea"/>
          <a:cs typeface="+mj-cs"/>
        </a:defRPr>
      </a:lvl1pPr>
    </p:titleStyle>
    <p:bodyStyle>
      <a:lvl1pPr marL="0" indent="0" algn="l" defTabSz="754380" rtl="0" eaLnBrk="1" latinLnBrk="0" hangingPunct="1">
        <a:lnSpc>
          <a:spcPct val="100000"/>
        </a:lnSpc>
        <a:spcBef>
          <a:spcPts val="0"/>
        </a:spcBef>
        <a:spcAft>
          <a:spcPts val="495"/>
        </a:spcAft>
        <a:buFontTx/>
        <a:buNone/>
        <a:defRPr sz="1238" b="1" kern="1200">
          <a:solidFill>
            <a:schemeClr val="tx2"/>
          </a:solidFill>
          <a:latin typeface="+mn-lt"/>
          <a:ea typeface="+mn-ea"/>
          <a:cs typeface="+mn-cs"/>
        </a:defRPr>
      </a:lvl1pPr>
      <a:lvl2pPr marL="0" indent="0" algn="l" defTabSz="754380" rtl="0" eaLnBrk="1" latinLnBrk="0" hangingPunct="1">
        <a:lnSpc>
          <a:spcPct val="100000"/>
        </a:lnSpc>
        <a:spcBef>
          <a:spcPts val="0"/>
        </a:spcBef>
        <a:spcAft>
          <a:spcPts val="495"/>
        </a:spcAft>
        <a:buFontTx/>
        <a:buNone/>
        <a:defRPr sz="1238" kern="1200">
          <a:solidFill>
            <a:schemeClr val="tx2"/>
          </a:solidFill>
          <a:latin typeface="+mn-lt"/>
          <a:ea typeface="+mn-ea"/>
          <a:cs typeface="+mn-cs"/>
        </a:defRPr>
      </a:lvl2pPr>
      <a:lvl3pPr marL="234630" indent="-23463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3pPr>
      <a:lvl4pPr marL="475200" indent="-19008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4pPr>
      <a:lvl5pPr marL="680130" indent="-23463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baseline="0">
          <a:solidFill>
            <a:schemeClr val="tx2"/>
          </a:solidFill>
          <a:latin typeface="+mn-lt"/>
          <a:ea typeface="+mn-ea"/>
          <a:cs typeface="+mn-cs"/>
        </a:defRPr>
      </a:lvl5pPr>
      <a:lvl6pPr marL="905850" indent="-19008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6pPr>
      <a:lvl7pPr marL="1131570" indent="-23463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7pPr>
      <a:lvl8pPr marL="1357290" indent="-188595"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p:bodyStyle>
    <p:otherStyle>
      <a:defPPr>
        <a:defRPr lang="en-US"/>
      </a:defPPr>
      <a:lvl1pPr marL="0" algn="l" defTabSz="754380" rtl="0" eaLnBrk="1" latinLnBrk="0" hangingPunct="1">
        <a:defRPr sz="1485" kern="1200">
          <a:solidFill>
            <a:schemeClr val="tx1"/>
          </a:solidFill>
          <a:latin typeface="+mn-lt"/>
          <a:ea typeface="+mn-ea"/>
          <a:cs typeface="+mn-cs"/>
        </a:defRPr>
      </a:lvl1pPr>
      <a:lvl2pPr marL="377190" algn="l" defTabSz="754380" rtl="0" eaLnBrk="1" latinLnBrk="0" hangingPunct="1">
        <a:defRPr sz="1485" kern="1200">
          <a:solidFill>
            <a:schemeClr val="tx1"/>
          </a:solidFill>
          <a:latin typeface="+mn-lt"/>
          <a:ea typeface="+mn-ea"/>
          <a:cs typeface="+mn-cs"/>
        </a:defRPr>
      </a:lvl2pPr>
      <a:lvl3pPr marL="754380" algn="l" defTabSz="754380" rtl="0" eaLnBrk="1" latinLnBrk="0" hangingPunct="1">
        <a:defRPr sz="1485" kern="1200">
          <a:solidFill>
            <a:schemeClr val="tx1"/>
          </a:solidFill>
          <a:latin typeface="+mn-lt"/>
          <a:ea typeface="+mn-ea"/>
          <a:cs typeface="+mn-cs"/>
        </a:defRPr>
      </a:lvl3pPr>
      <a:lvl4pPr marL="1131570" algn="l" defTabSz="754380" rtl="0" eaLnBrk="1" latinLnBrk="0" hangingPunct="1">
        <a:defRPr sz="1485" kern="1200">
          <a:solidFill>
            <a:schemeClr val="tx1"/>
          </a:solidFill>
          <a:latin typeface="+mn-lt"/>
          <a:ea typeface="+mn-ea"/>
          <a:cs typeface="+mn-cs"/>
        </a:defRPr>
      </a:lvl4pPr>
      <a:lvl5pPr marL="1508760" algn="l" defTabSz="754380" rtl="0" eaLnBrk="1" latinLnBrk="0" hangingPunct="1">
        <a:defRPr sz="1485" kern="1200">
          <a:solidFill>
            <a:schemeClr val="tx1"/>
          </a:solidFill>
          <a:latin typeface="+mn-lt"/>
          <a:ea typeface="+mn-ea"/>
          <a:cs typeface="+mn-cs"/>
        </a:defRPr>
      </a:lvl5pPr>
      <a:lvl6pPr marL="1885950" algn="l" defTabSz="754380" rtl="0" eaLnBrk="1" latinLnBrk="0" hangingPunct="1">
        <a:defRPr sz="1485" kern="1200">
          <a:solidFill>
            <a:schemeClr val="tx1"/>
          </a:solidFill>
          <a:latin typeface="+mn-lt"/>
          <a:ea typeface="+mn-ea"/>
          <a:cs typeface="+mn-cs"/>
        </a:defRPr>
      </a:lvl6pPr>
      <a:lvl7pPr marL="2263140" algn="l" defTabSz="754380" rtl="0" eaLnBrk="1" latinLnBrk="0" hangingPunct="1">
        <a:defRPr sz="1485" kern="1200">
          <a:solidFill>
            <a:schemeClr val="tx1"/>
          </a:solidFill>
          <a:latin typeface="+mn-lt"/>
          <a:ea typeface="+mn-ea"/>
          <a:cs typeface="+mn-cs"/>
        </a:defRPr>
      </a:lvl7pPr>
      <a:lvl8pPr marL="2640330" algn="l" defTabSz="754380" rtl="0" eaLnBrk="1" latinLnBrk="0" hangingPunct="1">
        <a:defRPr sz="1485" kern="1200">
          <a:solidFill>
            <a:schemeClr val="tx1"/>
          </a:solidFill>
          <a:latin typeface="+mn-lt"/>
          <a:ea typeface="+mn-ea"/>
          <a:cs typeface="+mn-cs"/>
        </a:defRPr>
      </a:lvl8pPr>
      <a:lvl9pPr marL="3017520" algn="l" defTabSz="754380" rtl="0" eaLnBrk="1" latinLnBrk="0" hangingPunct="1">
        <a:defRPr sz="148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3680" y="431800"/>
            <a:ext cx="8411040" cy="533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27641" y="1331360"/>
            <a:ext cx="8410438" cy="454556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8860037" y="6266997"/>
            <a:ext cx="3709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825" smtClean="0">
                <a:solidFill>
                  <a:srgbClr val="00338D"/>
                </a:solidFill>
                <a:cs typeface="Arial" panose="020B0604020202020204" pitchFamily="34" charset="0"/>
              </a:rPr>
              <a:pPr algn="r"/>
              <a:t>‹Nr.›</a:t>
            </a:fld>
            <a:endParaRPr lang="en-US" sz="825" dirty="0">
              <a:solidFill>
                <a:srgbClr val="00338D"/>
              </a:solidFill>
              <a:cs typeface="Arial" panose="020B0604020202020204" pitchFamily="34" charset="0"/>
            </a:endParaRPr>
          </a:p>
        </p:txBody>
      </p:sp>
      <p:sp>
        <p:nvSpPr>
          <p:cNvPr id="30" name="TextBox 29"/>
          <p:cNvSpPr txBox="1"/>
          <p:nvPr userDrawn="1"/>
        </p:nvSpPr>
        <p:spPr>
          <a:xfrm>
            <a:off x="1843821" y="6266997"/>
            <a:ext cx="6399360" cy="370800"/>
          </a:xfrm>
          <a:prstGeom prst="rect">
            <a:avLst/>
          </a:prstGeom>
          <a:noFill/>
        </p:spPr>
        <p:txBody>
          <a:bodyPr wrap="square" lIns="0" tIns="0" rIns="0" bIns="0" rtlCol="0">
            <a:noAutofit/>
          </a:bodyPr>
          <a:lstStyle/>
          <a:p>
            <a:pPr defTabSz="754380">
              <a:defRPr/>
            </a:pPr>
            <a:r>
              <a:rPr lang="en-US" sz="495" dirty="0">
                <a:solidFill>
                  <a:prstClr val="white">
                    <a:lumMod val="65000"/>
                  </a:prstClr>
                </a:solidFill>
              </a:rPr>
              <a:t>© [year] [legal member firm name], a [jurisdiction] [legal structure] and a member firm of the KPMG network of independent member firms affiliated with KPMG International Cooperative, a Swiss entity. All rights reserved.</a:t>
            </a:r>
            <a:endParaRPr lang="en-GB" sz="495" dirty="0">
              <a:solidFill>
                <a:prstClr val="white">
                  <a:lumMod val="65000"/>
                </a:prstClr>
              </a:solidFill>
            </a:endParaRPr>
          </a:p>
        </p:txBody>
      </p:sp>
      <p:sp>
        <p:nvSpPr>
          <p:cNvPr id="25" name="TextBox 24"/>
          <p:cNvSpPr txBox="1"/>
          <p:nvPr userDrawn="1"/>
        </p:nvSpPr>
        <p:spPr>
          <a:xfrm>
            <a:off x="2140333" y="6637578"/>
            <a:ext cx="5736797" cy="135362"/>
          </a:xfrm>
          <a:prstGeom prst="rect">
            <a:avLst/>
          </a:prstGeom>
          <a:noFill/>
        </p:spPr>
        <p:txBody>
          <a:bodyPr wrap="square" lIns="0" tIns="0" rIns="0" bIns="0" rtlCol="0">
            <a:noAutofit/>
          </a:bodyPr>
          <a:lstStyle/>
          <a:p>
            <a:pPr algn="ctr" defTabSz="754380">
              <a:defRPr/>
            </a:pPr>
            <a:r>
              <a:rPr lang="en-GB" sz="495" b="1" dirty="0">
                <a:solidFill>
                  <a:srgbClr val="000000"/>
                </a:solidFill>
              </a:rPr>
              <a:t>Document Classification: KPMG Confidential</a:t>
            </a:r>
          </a:p>
        </p:txBody>
      </p:sp>
      <p:sp>
        <p:nvSpPr>
          <p:cNvPr id="26" name="Freeform 19"/>
          <p:cNvSpPr>
            <a:spLocks noEditPoints="1"/>
          </p:cNvSpPr>
          <p:nvPr userDrawn="1"/>
        </p:nvSpPr>
        <p:spPr bwMode="auto">
          <a:xfrm>
            <a:off x="827641" y="6266998"/>
            <a:ext cx="399324"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75438" tIns="37719" rIns="75438" bIns="37719" numCol="1" anchor="t" anchorCtr="0" compatLnSpc="1">
            <a:prstTxWarp prst="textNoShape">
              <a:avLst/>
            </a:prstTxWarp>
          </a:bodyPr>
          <a:lstStyle/>
          <a:p>
            <a:pPr defTabSz="754380"/>
            <a:endParaRPr lang="en-GB" sz="1485" dirty="0">
              <a:solidFill>
                <a:srgbClr val="000000"/>
              </a:solidFill>
            </a:endParaRPr>
          </a:p>
        </p:txBody>
      </p:sp>
    </p:spTree>
    <p:extLst>
      <p:ext uri="{BB962C8B-B14F-4D97-AF65-F5344CB8AC3E}">
        <p14:creationId xmlns:p14="http://schemas.microsoft.com/office/powerpoint/2010/main" val="251247966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 id="2147483882" r:id="rId34"/>
  </p:sldLayoutIdLst>
  <p:txStyles>
    <p:titleStyle>
      <a:lvl1pPr algn="l" defTabSz="754380" rtl="0" eaLnBrk="1" latinLnBrk="0" hangingPunct="1">
        <a:lnSpc>
          <a:spcPct val="70000"/>
        </a:lnSpc>
        <a:spcBef>
          <a:spcPct val="0"/>
        </a:spcBef>
        <a:buNone/>
        <a:defRPr sz="4455" kern="1200">
          <a:solidFill>
            <a:schemeClr val="tx2"/>
          </a:solidFill>
          <a:latin typeface="+mj-lt"/>
          <a:ea typeface="+mj-ea"/>
          <a:cs typeface="+mj-cs"/>
        </a:defRPr>
      </a:lvl1pPr>
    </p:titleStyle>
    <p:bodyStyle>
      <a:lvl1pPr marL="0" indent="0" algn="l" defTabSz="754380" rtl="0" eaLnBrk="1" latinLnBrk="0" hangingPunct="1">
        <a:lnSpc>
          <a:spcPct val="100000"/>
        </a:lnSpc>
        <a:spcBef>
          <a:spcPts val="0"/>
        </a:spcBef>
        <a:spcAft>
          <a:spcPts val="495"/>
        </a:spcAft>
        <a:buFontTx/>
        <a:buNone/>
        <a:defRPr sz="1238" b="1" kern="1200">
          <a:solidFill>
            <a:schemeClr val="tx2"/>
          </a:solidFill>
          <a:latin typeface="+mn-lt"/>
          <a:ea typeface="+mn-ea"/>
          <a:cs typeface="+mn-cs"/>
        </a:defRPr>
      </a:lvl1pPr>
      <a:lvl2pPr marL="0" indent="0" algn="l" defTabSz="754380" rtl="0" eaLnBrk="1" latinLnBrk="0" hangingPunct="1">
        <a:lnSpc>
          <a:spcPct val="100000"/>
        </a:lnSpc>
        <a:spcBef>
          <a:spcPts val="0"/>
        </a:spcBef>
        <a:spcAft>
          <a:spcPts val="495"/>
        </a:spcAft>
        <a:buFontTx/>
        <a:buNone/>
        <a:defRPr sz="1238" kern="1200">
          <a:solidFill>
            <a:schemeClr val="tx2"/>
          </a:solidFill>
          <a:latin typeface="+mn-lt"/>
          <a:ea typeface="+mn-ea"/>
          <a:cs typeface="+mn-cs"/>
        </a:defRPr>
      </a:lvl2pPr>
      <a:lvl3pPr marL="234630" indent="-23463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3pPr>
      <a:lvl4pPr marL="475200" indent="-19008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4pPr>
      <a:lvl5pPr marL="680130" indent="-23463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baseline="0">
          <a:solidFill>
            <a:schemeClr val="tx2"/>
          </a:solidFill>
          <a:latin typeface="+mn-lt"/>
          <a:ea typeface="+mn-ea"/>
          <a:cs typeface="+mn-cs"/>
        </a:defRPr>
      </a:lvl5pPr>
      <a:lvl6pPr marL="905850" indent="-19008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6pPr>
      <a:lvl7pPr marL="1131570" indent="-234630"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7pPr>
      <a:lvl8pPr marL="1357290" indent="-188595" algn="l" defTabSz="754380" rtl="0" eaLnBrk="1" latinLnBrk="0" hangingPunct="1">
        <a:lnSpc>
          <a:spcPct val="100000"/>
        </a:lnSpc>
        <a:spcBef>
          <a:spcPts val="0"/>
        </a:spcBef>
        <a:spcAft>
          <a:spcPts val="495"/>
        </a:spcAft>
        <a:buClr>
          <a:schemeClr val="tx2"/>
        </a:buClr>
        <a:buFont typeface="Arial" panose="020B0604020202020204" pitchFamily="34" charset="0"/>
        <a:buChar char="-"/>
        <a:defRPr sz="1238" kern="1200">
          <a:solidFill>
            <a:schemeClr val="tx2"/>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p:bodyStyle>
    <p:otherStyle>
      <a:defPPr>
        <a:defRPr lang="en-US"/>
      </a:defPPr>
      <a:lvl1pPr marL="0" algn="l" defTabSz="754380" rtl="0" eaLnBrk="1" latinLnBrk="0" hangingPunct="1">
        <a:defRPr sz="1485" kern="1200">
          <a:solidFill>
            <a:schemeClr val="tx1"/>
          </a:solidFill>
          <a:latin typeface="+mn-lt"/>
          <a:ea typeface="+mn-ea"/>
          <a:cs typeface="+mn-cs"/>
        </a:defRPr>
      </a:lvl1pPr>
      <a:lvl2pPr marL="377190" algn="l" defTabSz="754380" rtl="0" eaLnBrk="1" latinLnBrk="0" hangingPunct="1">
        <a:defRPr sz="1485" kern="1200">
          <a:solidFill>
            <a:schemeClr val="tx1"/>
          </a:solidFill>
          <a:latin typeface="+mn-lt"/>
          <a:ea typeface="+mn-ea"/>
          <a:cs typeface="+mn-cs"/>
        </a:defRPr>
      </a:lvl2pPr>
      <a:lvl3pPr marL="754380" algn="l" defTabSz="754380" rtl="0" eaLnBrk="1" latinLnBrk="0" hangingPunct="1">
        <a:defRPr sz="1485" kern="1200">
          <a:solidFill>
            <a:schemeClr val="tx1"/>
          </a:solidFill>
          <a:latin typeface="+mn-lt"/>
          <a:ea typeface="+mn-ea"/>
          <a:cs typeface="+mn-cs"/>
        </a:defRPr>
      </a:lvl3pPr>
      <a:lvl4pPr marL="1131570" algn="l" defTabSz="754380" rtl="0" eaLnBrk="1" latinLnBrk="0" hangingPunct="1">
        <a:defRPr sz="1485" kern="1200">
          <a:solidFill>
            <a:schemeClr val="tx1"/>
          </a:solidFill>
          <a:latin typeface="+mn-lt"/>
          <a:ea typeface="+mn-ea"/>
          <a:cs typeface="+mn-cs"/>
        </a:defRPr>
      </a:lvl4pPr>
      <a:lvl5pPr marL="1508760" algn="l" defTabSz="754380" rtl="0" eaLnBrk="1" latinLnBrk="0" hangingPunct="1">
        <a:defRPr sz="1485" kern="1200">
          <a:solidFill>
            <a:schemeClr val="tx1"/>
          </a:solidFill>
          <a:latin typeface="+mn-lt"/>
          <a:ea typeface="+mn-ea"/>
          <a:cs typeface="+mn-cs"/>
        </a:defRPr>
      </a:lvl5pPr>
      <a:lvl6pPr marL="1885950" algn="l" defTabSz="754380" rtl="0" eaLnBrk="1" latinLnBrk="0" hangingPunct="1">
        <a:defRPr sz="1485" kern="1200">
          <a:solidFill>
            <a:schemeClr val="tx1"/>
          </a:solidFill>
          <a:latin typeface="+mn-lt"/>
          <a:ea typeface="+mn-ea"/>
          <a:cs typeface="+mn-cs"/>
        </a:defRPr>
      </a:lvl6pPr>
      <a:lvl7pPr marL="2263140" algn="l" defTabSz="754380" rtl="0" eaLnBrk="1" latinLnBrk="0" hangingPunct="1">
        <a:defRPr sz="1485" kern="1200">
          <a:solidFill>
            <a:schemeClr val="tx1"/>
          </a:solidFill>
          <a:latin typeface="+mn-lt"/>
          <a:ea typeface="+mn-ea"/>
          <a:cs typeface="+mn-cs"/>
        </a:defRPr>
      </a:lvl7pPr>
      <a:lvl8pPr marL="2640330" algn="l" defTabSz="754380" rtl="0" eaLnBrk="1" latinLnBrk="0" hangingPunct="1">
        <a:defRPr sz="1485" kern="1200">
          <a:solidFill>
            <a:schemeClr val="tx1"/>
          </a:solidFill>
          <a:latin typeface="+mn-lt"/>
          <a:ea typeface="+mn-ea"/>
          <a:cs typeface="+mn-cs"/>
        </a:defRPr>
      </a:lvl8pPr>
      <a:lvl9pPr marL="3017520" algn="l" defTabSz="754380" rtl="0" eaLnBrk="1" latinLnBrk="0" hangingPunct="1">
        <a:defRPr sz="148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5.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hyperlink" Target="http://www.kpmg.de/icc" TargetMode="Externa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118.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kpmg.com/socialmedia" TargetMode="External"/><Relationship Id="rId1" Type="http://schemas.openxmlformats.org/officeDocument/2006/relationships/slideLayout" Target="../slideLayouts/slideLayout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9600" dirty="0" smtClean="0"/>
              <a:t>KPMG International Case Competition</a:t>
            </a:r>
            <a:br>
              <a:rPr lang="en-US" sz="9600" dirty="0" smtClean="0"/>
            </a:br>
            <a:r>
              <a:rPr lang="en-US" sz="9600" dirty="0" smtClean="0"/>
              <a:t>2017</a:t>
            </a:r>
            <a:endParaRPr lang="en-US" sz="9600" dirty="0"/>
          </a:p>
        </p:txBody>
      </p:sp>
    </p:spTree>
    <p:extLst>
      <p:ext uri="{BB962C8B-B14F-4D97-AF65-F5344CB8AC3E}">
        <p14:creationId xmlns:p14="http://schemas.microsoft.com/office/powerpoint/2010/main" val="1987634645"/>
      </p:ext>
    </p:extLst>
  </p:cSld>
  <p:clrMapOvr>
    <a:masterClrMapping/>
  </p:clrMapOvr>
  <p:transition spd="med">
    <p:pull/>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196285" y="1330387"/>
            <a:ext cx="5681961" cy="4225793"/>
          </a:xfrm>
          <a:prstGeom prst="rect">
            <a:avLst/>
          </a:prstGeom>
        </p:spPr>
      </p:pic>
      <p:sp>
        <p:nvSpPr>
          <p:cNvPr id="113" name="Title 112"/>
          <p:cNvSpPr>
            <a:spLocks noGrp="1"/>
          </p:cNvSpPr>
          <p:nvPr>
            <p:ph type="title"/>
          </p:nvPr>
        </p:nvSpPr>
        <p:spPr/>
        <p:txBody>
          <a:bodyPr/>
          <a:lstStyle/>
          <a:p>
            <a:r>
              <a:rPr lang="en-GB" dirty="0"/>
              <a:t> </a:t>
            </a:r>
          </a:p>
        </p:txBody>
      </p:sp>
      <p:sp>
        <p:nvSpPr>
          <p:cNvPr id="96" name="Title 5"/>
          <p:cNvSpPr txBox="1">
            <a:spLocks/>
          </p:cNvSpPr>
          <p:nvPr/>
        </p:nvSpPr>
        <p:spPr>
          <a:xfrm>
            <a:off x="5461170" y="5469352"/>
            <a:ext cx="5380221" cy="440055"/>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bg1"/>
                </a:solidFill>
                <a:latin typeface="+mj-lt"/>
                <a:ea typeface="+mj-ea"/>
                <a:cs typeface="+mj-cs"/>
              </a:defRPr>
            </a:lvl1pPr>
          </a:lstStyle>
          <a:p>
            <a:r>
              <a:rPr lang="en-GB" sz="4950" dirty="0" err="1">
                <a:solidFill>
                  <a:prstClr val="white"/>
                </a:solidFill>
              </a:rPr>
              <a:t>l</a:t>
            </a:r>
            <a:r>
              <a:rPr lang="en-GB" sz="4950" dirty="0" err="1" smtClean="0">
                <a:solidFill>
                  <a:prstClr val="white"/>
                </a:solidFill>
              </a:rPr>
              <a:t>anden</a:t>
            </a:r>
            <a:r>
              <a:rPr lang="en-GB" sz="4950" dirty="0" smtClean="0">
                <a:solidFill>
                  <a:prstClr val="white"/>
                </a:solidFill>
              </a:rPr>
              <a:t> in </a:t>
            </a:r>
            <a:r>
              <a:rPr lang="en-GB" sz="4950" dirty="0" err="1" smtClean="0">
                <a:solidFill>
                  <a:prstClr val="white"/>
                </a:solidFill>
              </a:rPr>
              <a:t>Lissabon</a:t>
            </a:r>
            <a:r>
              <a:rPr lang="en-GB" sz="4950" dirty="0" smtClean="0">
                <a:solidFill>
                  <a:prstClr val="white"/>
                </a:solidFill>
              </a:rPr>
              <a:t>!</a:t>
            </a:r>
            <a:endParaRPr lang="en-GB" sz="4950" dirty="0">
              <a:solidFill>
                <a:prstClr val="white"/>
              </a:solidFill>
            </a:endParaRPr>
          </a:p>
        </p:txBody>
      </p:sp>
      <p:grpSp>
        <p:nvGrpSpPr>
          <p:cNvPr id="119" name="Group 60"/>
          <p:cNvGrpSpPr>
            <a:grpSpLocks noChangeAspect="1"/>
          </p:cNvGrpSpPr>
          <p:nvPr/>
        </p:nvGrpSpPr>
        <p:grpSpPr bwMode="auto">
          <a:xfrm>
            <a:off x="6340781" y="3134812"/>
            <a:ext cx="1159212" cy="863059"/>
            <a:chOff x="2835" y="1409"/>
            <a:chExt cx="2008" cy="1495"/>
          </a:xfrm>
        </p:grpSpPr>
        <p:sp>
          <p:nvSpPr>
            <p:cNvPr id="121" name="Freeform 61"/>
            <p:cNvSpPr>
              <a:spLocks/>
            </p:cNvSpPr>
            <p:nvPr/>
          </p:nvSpPr>
          <p:spPr bwMode="auto">
            <a:xfrm>
              <a:off x="3272" y="1409"/>
              <a:ext cx="1478" cy="1423"/>
            </a:xfrm>
            <a:custGeom>
              <a:avLst/>
              <a:gdLst>
                <a:gd name="T0" fmla="*/ 836 w 836"/>
                <a:gd name="T1" fmla="*/ 717 h 804"/>
                <a:gd name="T2" fmla="*/ 781 w 836"/>
                <a:gd name="T3" fmla="*/ 798 h 804"/>
                <a:gd name="T4" fmla="*/ 60 w 836"/>
                <a:gd name="T5" fmla="*/ 804 h 804"/>
                <a:gd name="T6" fmla="*/ 0 w 836"/>
                <a:gd name="T7" fmla="*/ 735 h 804"/>
                <a:gd name="T8" fmla="*/ 0 w 836"/>
                <a:gd name="T9" fmla="*/ 186 h 804"/>
                <a:gd name="T10" fmla="*/ 60 w 836"/>
                <a:gd name="T11" fmla="*/ 108 h 804"/>
                <a:gd name="T12" fmla="*/ 781 w 836"/>
                <a:gd name="T13" fmla="*/ 4 h 804"/>
                <a:gd name="T14" fmla="*/ 836 w 836"/>
                <a:gd name="T15" fmla="*/ 77 h 804"/>
                <a:gd name="T16" fmla="*/ 836 w 836"/>
                <a:gd name="T17" fmla="*/ 717 h 804"/>
                <a:gd name="T18" fmla="*/ 836 w 836"/>
                <a:gd name="T1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6" h="804">
                  <a:moveTo>
                    <a:pt x="836" y="717"/>
                  </a:moveTo>
                  <a:cubicBezTo>
                    <a:pt x="836" y="764"/>
                    <a:pt x="811" y="798"/>
                    <a:pt x="781" y="798"/>
                  </a:cubicBezTo>
                  <a:cubicBezTo>
                    <a:pt x="60" y="804"/>
                    <a:pt x="60" y="804"/>
                    <a:pt x="60" y="804"/>
                  </a:cubicBezTo>
                  <a:cubicBezTo>
                    <a:pt x="25" y="804"/>
                    <a:pt x="0" y="776"/>
                    <a:pt x="0" y="735"/>
                  </a:cubicBezTo>
                  <a:cubicBezTo>
                    <a:pt x="0" y="186"/>
                    <a:pt x="0" y="186"/>
                    <a:pt x="0" y="186"/>
                  </a:cubicBezTo>
                  <a:cubicBezTo>
                    <a:pt x="0" y="145"/>
                    <a:pt x="25" y="113"/>
                    <a:pt x="60" y="108"/>
                  </a:cubicBezTo>
                  <a:cubicBezTo>
                    <a:pt x="781" y="4"/>
                    <a:pt x="781" y="4"/>
                    <a:pt x="781" y="4"/>
                  </a:cubicBezTo>
                  <a:cubicBezTo>
                    <a:pt x="811" y="0"/>
                    <a:pt x="836" y="30"/>
                    <a:pt x="836" y="77"/>
                  </a:cubicBezTo>
                  <a:cubicBezTo>
                    <a:pt x="836" y="717"/>
                    <a:pt x="836" y="717"/>
                    <a:pt x="836" y="717"/>
                  </a:cubicBezTo>
                  <a:cubicBezTo>
                    <a:pt x="836" y="717"/>
                    <a:pt x="836" y="717"/>
                    <a:pt x="836" y="717"/>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122" name="Freeform 62"/>
            <p:cNvSpPr>
              <a:spLocks/>
            </p:cNvSpPr>
            <p:nvPr/>
          </p:nvSpPr>
          <p:spPr bwMode="auto">
            <a:xfrm>
              <a:off x="3307" y="1458"/>
              <a:ext cx="1407" cy="1333"/>
            </a:xfrm>
            <a:custGeom>
              <a:avLst/>
              <a:gdLst>
                <a:gd name="T0" fmla="*/ 40 w 796"/>
                <a:gd name="T1" fmla="*/ 752 h 753"/>
                <a:gd name="T2" fmla="*/ 0 w 796"/>
                <a:gd name="T3" fmla="*/ 707 h 753"/>
                <a:gd name="T4" fmla="*/ 0 w 796"/>
                <a:gd name="T5" fmla="*/ 155 h 753"/>
                <a:gd name="T6" fmla="*/ 40 w 796"/>
                <a:gd name="T7" fmla="*/ 103 h 753"/>
                <a:gd name="T8" fmla="*/ 761 w 796"/>
                <a:gd name="T9" fmla="*/ 3 h 753"/>
                <a:gd name="T10" fmla="*/ 796 w 796"/>
                <a:gd name="T11" fmla="*/ 51 h 753"/>
                <a:gd name="T12" fmla="*/ 796 w 796"/>
                <a:gd name="T13" fmla="*/ 689 h 753"/>
                <a:gd name="T14" fmla="*/ 761 w 796"/>
                <a:gd name="T15" fmla="*/ 743 h 753"/>
                <a:gd name="T16" fmla="*/ 40 w 796"/>
                <a:gd name="T17" fmla="*/ 752 h 753"/>
                <a:gd name="T18" fmla="*/ 40 w 796"/>
                <a:gd name="T19" fmla="*/ 752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6" h="753">
                  <a:moveTo>
                    <a:pt x="40" y="752"/>
                  </a:moveTo>
                  <a:cubicBezTo>
                    <a:pt x="20" y="753"/>
                    <a:pt x="0" y="730"/>
                    <a:pt x="0" y="707"/>
                  </a:cubicBezTo>
                  <a:cubicBezTo>
                    <a:pt x="0" y="155"/>
                    <a:pt x="0" y="155"/>
                    <a:pt x="0" y="155"/>
                  </a:cubicBezTo>
                  <a:cubicBezTo>
                    <a:pt x="0" y="132"/>
                    <a:pt x="20" y="106"/>
                    <a:pt x="40" y="103"/>
                  </a:cubicBezTo>
                  <a:cubicBezTo>
                    <a:pt x="761" y="3"/>
                    <a:pt x="761" y="3"/>
                    <a:pt x="761" y="3"/>
                  </a:cubicBezTo>
                  <a:cubicBezTo>
                    <a:pt x="781" y="0"/>
                    <a:pt x="796" y="25"/>
                    <a:pt x="796" y="51"/>
                  </a:cubicBezTo>
                  <a:cubicBezTo>
                    <a:pt x="796" y="689"/>
                    <a:pt x="796" y="689"/>
                    <a:pt x="796" y="689"/>
                  </a:cubicBezTo>
                  <a:cubicBezTo>
                    <a:pt x="796" y="716"/>
                    <a:pt x="781" y="743"/>
                    <a:pt x="761" y="743"/>
                  </a:cubicBezTo>
                  <a:cubicBezTo>
                    <a:pt x="40" y="752"/>
                    <a:pt x="40" y="752"/>
                    <a:pt x="40" y="752"/>
                  </a:cubicBezTo>
                  <a:cubicBezTo>
                    <a:pt x="40" y="752"/>
                    <a:pt x="40" y="752"/>
                    <a:pt x="40" y="752"/>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123" name="Freeform 63"/>
            <p:cNvSpPr>
              <a:spLocks/>
            </p:cNvSpPr>
            <p:nvPr/>
          </p:nvSpPr>
          <p:spPr bwMode="auto">
            <a:xfrm>
              <a:off x="2835" y="2791"/>
              <a:ext cx="2008" cy="113"/>
            </a:xfrm>
            <a:custGeom>
              <a:avLst/>
              <a:gdLst>
                <a:gd name="T0" fmla="*/ 40 w 1136"/>
                <a:gd name="T1" fmla="*/ 64 h 64"/>
                <a:gd name="T2" fmla="*/ 1096 w 1136"/>
                <a:gd name="T3" fmla="*/ 64 h 64"/>
                <a:gd name="T4" fmla="*/ 1136 w 1136"/>
                <a:gd name="T5" fmla="*/ 0 h 64"/>
                <a:gd name="T6" fmla="*/ 0 w 1136"/>
                <a:gd name="T7" fmla="*/ 12 h 64"/>
                <a:gd name="T8" fmla="*/ 40 w 1136"/>
                <a:gd name="T9" fmla="*/ 64 h 64"/>
              </a:gdLst>
              <a:ahLst/>
              <a:cxnLst>
                <a:cxn ang="0">
                  <a:pos x="T0" y="T1"/>
                </a:cxn>
                <a:cxn ang="0">
                  <a:pos x="T2" y="T3"/>
                </a:cxn>
                <a:cxn ang="0">
                  <a:pos x="T4" y="T5"/>
                </a:cxn>
                <a:cxn ang="0">
                  <a:pos x="T6" y="T7"/>
                </a:cxn>
                <a:cxn ang="0">
                  <a:pos x="T8" y="T9"/>
                </a:cxn>
              </a:cxnLst>
              <a:rect l="0" t="0" r="r" b="b"/>
              <a:pathLst>
                <a:path w="1136" h="64">
                  <a:moveTo>
                    <a:pt x="40" y="64"/>
                  </a:moveTo>
                  <a:cubicBezTo>
                    <a:pt x="1096" y="64"/>
                    <a:pt x="1096" y="64"/>
                    <a:pt x="1096" y="64"/>
                  </a:cubicBezTo>
                  <a:cubicBezTo>
                    <a:pt x="1121" y="64"/>
                    <a:pt x="1136" y="36"/>
                    <a:pt x="1136" y="0"/>
                  </a:cubicBezTo>
                  <a:cubicBezTo>
                    <a:pt x="0" y="12"/>
                    <a:pt x="0" y="12"/>
                    <a:pt x="0" y="12"/>
                  </a:cubicBezTo>
                  <a:cubicBezTo>
                    <a:pt x="0" y="41"/>
                    <a:pt x="20" y="64"/>
                    <a:pt x="40" y="64"/>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124" name="Freeform 64"/>
            <p:cNvSpPr>
              <a:spLocks/>
            </p:cNvSpPr>
            <p:nvPr/>
          </p:nvSpPr>
          <p:spPr bwMode="auto">
            <a:xfrm>
              <a:off x="3272" y="1409"/>
              <a:ext cx="1478" cy="1423"/>
            </a:xfrm>
            <a:custGeom>
              <a:avLst/>
              <a:gdLst>
                <a:gd name="T0" fmla="*/ 836 w 836"/>
                <a:gd name="T1" fmla="*/ 717 h 804"/>
                <a:gd name="T2" fmla="*/ 781 w 836"/>
                <a:gd name="T3" fmla="*/ 798 h 804"/>
                <a:gd name="T4" fmla="*/ 60 w 836"/>
                <a:gd name="T5" fmla="*/ 804 h 804"/>
                <a:gd name="T6" fmla="*/ 0 w 836"/>
                <a:gd name="T7" fmla="*/ 735 h 804"/>
                <a:gd name="T8" fmla="*/ 0 w 836"/>
                <a:gd name="T9" fmla="*/ 186 h 804"/>
                <a:gd name="T10" fmla="*/ 60 w 836"/>
                <a:gd name="T11" fmla="*/ 108 h 804"/>
                <a:gd name="T12" fmla="*/ 781 w 836"/>
                <a:gd name="T13" fmla="*/ 4 h 804"/>
                <a:gd name="T14" fmla="*/ 836 w 836"/>
                <a:gd name="T15" fmla="*/ 77 h 804"/>
                <a:gd name="T16" fmla="*/ 836 w 836"/>
                <a:gd name="T17" fmla="*/ 717 h 804"/>
                <a:gd name="T18" fmla="*/ 836 w 836"/>
                <a:gd name="T1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6" h="804">
                  <a:moveTo>
                    <a:pt x="836" y="717"/>
                  </a:moveTo>
                  <a:cubicBezTo>
                    <a:pt x="836" y="764"/>
                    <a:pt x="811" y="798"/>
                    <a:pt x="781" y="798"/>
                  </a:cubicBezTo>
                  <a:cubicBezTo>
                    <a:pt x="60" y="804"/>
                    <a:pt x="60" y="804"/>
                    <a:pt x="60" y="804"/>
                  </a:cubicBezTo>
                  <a:cubicBezTo>
                    <a:pt x="25" y="804"/>
                    <a:pt x="0" y="776"/>
                    <a:pt x="0" y="735"/>
                  </a:cubicBezTo>
                  <a:cubicBezTo>
                    <a:pt x="0" y="186"/>
                    <a:pt x="0" y="186"/>
                    <a:pt x="0" y="186"/>
                  </a:cubicBezTo>
                  <a:cubicBezTo>
                    <a:pt x="0" y="145"/>
                    <a:pt x="25" y="113"/>
                    <a:pt x="60" y="108"/>
                  </a:cubicBezTo>
                  <a:cubicBezTo>
                    <a:pt x="781" y="4"/>
                    <a:pt x="781" y="4"/>
                    <a:pt x="781" y="4"/>
                  </a:cubicBezTo>
                  <a:cubicBezTo>
                    <a:pt x="811" y="0"/>
                    <a:pt x="836" y="30"/>
                    <a:pt x="836" y="77"/>
                  </a:cubicBezTo>
                  <a:cubicBezTo>
                    <a:pt x="836" y="717"/>
                    <a:pt x="836" y="717"/>
                    <a:pt x="836" y="717"/>
                  </a:cubicBezTo>
                  <a:cubicBezTo>
                    <a:pt x="836" y="717"/>
                    <a:pt x="836" y="717"/>
                    <a:pt x="836" y="717"/>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125" name="Freeform 65"/>
            <p:cNvSpPr>
              <a:spLocks/>
            </p:cNvSpPr>
            <p:nvPr/>
          </p:nvSpPr>
          <p:spPr bwMode="auto">
            <a:xfrm>
              <a:off x="3307" y="1458"/>
              <a:ext cx="1407" cy="1333"/>
            </a:xfrm>
            <a:custGeom>
              <a:avLst/>
              <a:gdLst>
                <a:gd name="T0" fmla="*/ 40 w 796"/>
                <a:gd name="T1" fmla="*/ 752 h 753"/>
                <a:gd name="T2" fmla="*/ 0 w 796"/>
                <a:gd name="T3" fmla="*/ 707 h 753"/>
                <a:gd name="T4" fmla="*/ 0 w 796"/>
                <a:gd name="T5" fmla="*/ 155 h 753"/>
                <a:gd name="T6" fmla="*/ 40 w 796"/>
                <a:gd name="T7" fmla="*/ 103 h 753"/>
                <a:gd name="T8" fmla="*/ 761 w 796"/>
                <a:gd name="T9" fmla="*/ 3 h 753"/>
                <a:gd name="T10" fmla="*/ 796 w 796"/>
                <a:gd name="T11" fmla="*/ 51 h 753"/>
                <a:gd name="T12" fmla="*/ 796 w 796"/>
                <a:gd name="T13" fmla="*/ 689 h 753"/>
                <a:gd name="T14" fmla="*/ 761 w 796"/>
                <a:gd name="T15" fmla="*/ 743 h 753"/>
                <a:gd name="T16" fmla="*/ 40 w 796"/>
                <a:gd name="T17" fmla="*/ 752 h 753"/>
                <a:gd name="T18" fmla="*/ 40 w 796"/>
                <a:gd name="T19" fmla="*/ 752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6" h="753">
                  <a:moveTo>
                    <a:pt x="40" y="752"/>
                  </a:moveTo>
                  <a:cubicBezTo>
                    <a:pt x="20" y="753"/>
                    <a:pt x="0" y="730"/>
                    <a:pt x="0" y="707"/>
                  </a:cubicBezTo>
                  <a:cubicBezTo>
                    <a:pt x="0" y="155"/>
                    <a:pt x="0" y="155"/>
                    <a:pt x="0" y="155"/>
                  </a:cubicBezTo>
                  <a:cubicBezTo>
                    <a:pt x="0" y="132"/>
                    <a:pt x="20" y="106"/>
                    <a:pt x="40" y="103"/>
                  </a:cubicBezTo>
                  <a:cubicBezTo>
                    <a:pt x="761" y="3"/>
                    <a:pt x="761" y="3"/>
                    <a:pt x="761" y="3"/>
                  </a:cubicBezTo>
                  <a:cubicBezTo>
                    <a:pt x="781" y="0"/>
                    <a:pt x="796" y="25"/>
                    <a:pt x="796" y="51"/>
                  </a:cubicBezTo>
                  <a:cubicBezTo>
                    <a:pt x="796" y="689"/>
                    <a:pt x="796" y="689"/>
                    <a:pt x="796" y="689"/>
                  </a:cubicBezTo>
                  <a:cubicBezTo>
                    <a:pt x="796" y="716"/>
                    <a:pt x="781" y="743"/>
                    <a:pt x="761" y="743"/>
                  </a:cubicBezTo>
                  <a:cubicBezTo>
                    <a:pt x="40" y="752"/>
                    <a:pt x="40" y="752"/>
                    <a:pt x="40" y="752"/>
                  </a:cubicBezTo>
                  <a:cubicBezTo>
                    <a:pt x="40" y="752"/>
                    <a:pt x="40" y="752"/>
                    <a:pt x="40" y="7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126" name="Freeform 66"/>
            <p:cNvSpPr>
              <a:spLocks/>
            </p:cNvSpPr>
            <p:nvPr/>
          </p:nvSpPr>
          <p:spPr bwMode="auto">
            <a:xfrm>
              <a:off x="2835" y="2791"/>
              <a:ext cx="2008" cy="113"/>
            </a:xfrm>
            <a:custGeom>
              <a:avLst/>
              <a:gdLst>
                <a:gd name="T0" fmla="*/ 40 w 1136"/>
                <a:gd name="T1" fmla="*/ 64 h 64"/>
                <a:gd name="T2" fmla="*/ 1096 w 1136"/>
                <a:gd name="T3" fmla="*/ 64 h 64"/>
                <a:gd name="T4" fmla="*/ 1136 w 1136"/>
                <a:gd name="T5" fmla="*/ 0 h 64"/>
                <a:gd name="T6" fmla="*/ 0 w 1136"/>
                <a:gd name="T7" fmla="*/ 12 h 64"/>
                <a:gd name="T8" fmla="*/ 40 w 1136"/>
                <a:gd name="T9" fmla="*/ 64 h 64"/>
              </a:gdLst>
              <a:ahLst/>
              <a:cxnLst>
                <a:cxn ang="0">
                  <a:pos x="T0" y="T1"/>
                </a:cxn>
                <a:cxn ang="0">
                  <a:pos x="T2" y="T3"/>
                </a:cxn>
                <a:cxn ang="0">
                  <a:pos x="T4" y="T5"/>
                </a:cxn>
                <a:cxn ang="0">
                  <a:pos x="T6" y="T7"/>
                </a:cxn>
                <a:cxn ang="0">
                  <a:pos x="T8" y="T9"/>
                </a:cxn>
              </a:cxnLst>
              <a:rect l="0" t="0" r="r" b="b"/>
              <a:pathLst>
                <a:path w="1136" h="64">
                  <a:moveTo>
                    <a:pt x="40" y="64"/>
                  </a:moveTo>
                  <a:cubicBezTo>
                    <a:pt x="1096" y="64"/>
                    <a:pt x="1096" y="64"/>
                    <a:pt x="1096" y="64"/>
                  </a:cubicBezTo>
                  <a:cubicBezTo>
                    <a:pt x="1121" y="64"/>
                    <a:pt x="1136" y="36"/>
                    <a:pt x="1136" y="0"/>
                  </a:cubicBezTo>
                  <a:cubicBezTo>
                    <a:pt x="0" y="12"/>
                    <a:pt x="0" y="12"/>
                    <a:pt x="0" y="12"/>
                  </a:cubicBezTo>
                  <a:cubicBezTo>
                    <a:pt x="0" y="41"/>
                    <a:pt x="20" y="64"/>
                    <a:pt x="40" y="64"/>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grpSp>
      <p:sp>
        <p:nvSpPr>
          <p:cNvPr id="2" name="Rectangle 1"/>
          <p:cNvSpPr/>
          <p:nvPr/>
        </p:nvSpPr>
        <p:spPr>
          <a:xfrm>
            <a:off x="16985338" y="4551340"/>
            <a:ext cx="3131462" cy="38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5053" tIns="45053" rIns="45053" bIns="45053" rtlCol="0" anchor="ctr"/>
          <a:lstStyle/>
          <a:p>
            <a:pPr defTabSz="754380"/>
            <a:endParaRPr lang="en-GB" sz="1238" dirty="0" err="1">
              <a:solidFill>
                <a:prstClr val="white"/>
              </a:solidFill>
            </a:endParaRPr>
          </a:p>
        </p:txBody>
      </p:sp>
      <p:sp>
        <p:nvSpPr>
          <p:cNvPr id="95" name="Title 5"/>
          <p:cNvSpPr txBox="1">
            <a:spLocks/>
          </p:cNvSpPr>
          <p:nvPr/>
        </p:nvSpPr>
        <p:spPr>
          <a:xfrm>
            <a:off x="3347990" y="2151105"/>
            <a:ext cx="8411040" cy="1004989"/>
          </a:xfrm>
          <a:prstGeom prst="rect">
            <a:avLst/>
          </a:prstGeom>
        </p:spPr>
        <p:txBody>
          <a:bodyPr vert="horz" lIns="0" tIns="0" rIns="0" bIns="0" rtlCol="0" anchor="ctr" anchorCtr="0">
            <a:noAutofit/>
          </a:bodyPr>
          <a:lstStyle>
            <a:lvl1pPr algn="l" defTabSz="914400" rtl="0" eaLnBrk="1" latinLnBrk="0" hangingPunct="1">
              <a:lnSpc>
                <a:spcPct val="70000"/>
              </a:lnSpc>
              <a:spcBef>
                <a:spcPct val="0"/>
              </a:spcBef>
              <a:buNone/>
              <a:defRPr sz="5400" kern="1200">
                <a:solidFill>
                  <a:schemeClr val="bg1"/>
                </a:solidFill>
                <a:latin typeface="+mj-lt"/>
                <a:ea typeface="+mj-ea"/>
                <a:cs typeface="+mj-cs"/>
              </a:defRPr>
            </a:lvl1pPr>
          </a:lstStyle>
          <a:p>
            <a:r>
              <a:rPr lang="en-GB" sz="5940" dirty="0" smtClean="0">
                <a:solidFill>
                  <a:prstClr val="white"/>
                </a:solidFill>
              </a:rPr>
              <a:t>Die </a:t>
            </a:r>
            <a:r>
              <a:rPr lang="en-GB" sz="5940" dirty="0" err="1" smtClean="0">
                <a:solidFill>
                  <a:prstClr val="white"/>
                </a:solidFill>
              </a:rPr>
              <a:t>besten</a:t>
            </a:r>
            <a:r>
              <a:rPr lang="en-GB" sz="5940" dirty="0" smtClean="0">
                <a:solidFill>
                  <a:prstClr val="white"/>
                </a:solidFill>
              </a:rPr>
              <a:t> Highflyer…</a:t>
            </a:r>
            <a:endParaRPr lang="en-GB" sz="5940" dirty="0">
              <a:solidFill>
                <a:prstClr val="white"/>
              </a:solidFill>
            </a:endParaRPr>
          </a:p>
        </p:txBody>
      </p:sp>
    </p:spTree>
    <p:extLst>
      <p:ext uri="{BB962C8B-B14F-4D97-AF65-F5344CB8AC3E}">
        <p14:creationId xmlns:p14="http://schemas.microsoft.com/office/powerpoint/2010/main" val="29672855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95"/>
                                        </p:tgtEl>
                                        <p:attrNameLst>
                                          <p:attrName>style.visibility</p:attrName>
                                        </p:attrNameLst>
                                      </p:cBhvr>
                                      <p:to>
                                        <p:strVal val="visible"/>
                                      </p:to>
                                    </p:set>
                                    <p:animEffect transition="in" filter="fade">
                                      <p:cBhvr>
                                        <p:cTn id="7" dur="750"/>
                                        <p:tgtEl>
                                          <p:spTgt spid="95"/>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6" presetClass="emph" presetSubtype="0" decel="34667" fill="hold" grpId="1" nodeType="withEffect">
                                  <p:stCondLst>
                                    <p:cond delay="50"/>
                                  </p:stCondLst>
                                  <p:childTnLst>
                                    <p:animScale>
                                      <p:cBhvr>
                                        <p:cTn id="13" dur="750" fill="hold"/>
                                        <p:tgtEl>
                                          <p:spTgt spid="95"/>
                                        </p:tgtEl>
                                      </p:cBhvr>
                                      <p:by x="75000" y="75000"/>
                                    </p:animScale>
                                  </p:childTnLst>
                                </p:cTn>
                              </p:par>
                              <p:par>
                                <p:cTn id="14" presetID="42" presetClass="path" presetSubtype="0" accel="50000" decel="50000" fill="hold" grpId="2" nodeType="withEffect">
                                  <p:stCondLst>
                                    <p:cond delay="50"/>
                                  </p:stCondLst>
                                  <p:childTnLst>
                                    <p:animMotion origin="layout" path="M -1.45833E-6 -2.96296E-6 L -0.37357 -0.18958 " pathEditMode="relative" rAng="0" ptsTypes="AA">
                                      <p:cBhvr>
                                        <p:cTn id="15" dur="750" fill="hold"/>
                                        <p:tgtEl>
                                          <p:spTgt spid="95"/>
                                        </p:tgtEl>
                                        <p:attrNameLst>
                                          <p:attrName>ppt_x</p:attrName>
                                          <p:attrName>ppt_y</p:attrName>
                                        </p:attrNameLst>
                                      </p:cBhvr>
                                      <p:rCtr x="-18685" y="-9491"/>
                                    </p:animMotion>
                                  </p:childTnLst>
                                </p:cTn>
                              </p:par>
                              <p:par>
                                <p:cTn id="16" presetID="10" presetClass="entr" presetSubtype="0" fill="hold" grpId="0" nodeType="withEffect">
                                  <p:stCondLst>
                                    <p:cond delay="500"/>
                                  </p:stCondLst>
                                  <p:iterate type="lt">
                                    <p:tmPct val="4000"/>
                                  </p:iterate>
                                  <p:childTnLst>
                                    <p:set>
                                      <p:cBhvr>
                                        <p:cTn id="17" dur="1" fill="hold">
                                          <p:stCondLst>
                                            <p:cond delay="0"/>
                                          </p:stCondLst>
                                        </p:cTn>
                                        <p:tgtEl>
                                          <p:spTgt spid="96"/>
                                        </p:tgtEl>
                                        <p:attrNameLst>
                                          <p:attrName>style.visibility</p:attrName>
                                        </p:attrNameLst>
                                      </p:cBhvr>
                                      <p:to>
                                        <p:strVal val="visible"/>
                                      </p:to>
                                    </p:set>
                                    <p:animEffect transition="in" filter="fade">
                                      <p:cBhvr>
                                        <p:cTn id="18" dur="750"/>
                                        <p:tgtEl>
                                          <p:spTgt spid="96"/>
                                        </p:tgtEl>
                                      </p:cBhvr>
                                    </p:animEffect>
                                  </p:childTnLst>
                                </p:cTn>
                              </p:par>
                              <p:par>
                                <p:cTn id="19" presetID="23" presetClass="entr" presetSubtype="272" fill="hold" nodeType="withEffect">
                                  <p:stCondLst>
                                    <p:cond delay="250"/>
                                  </p:stCondLst>
                                  <p:childTnLst>
                                    <p:set>
                                      <p:cBhvr>
                                        <p:cTn id="20" dur="1" fill="hold">
                                          <p:stCondLst>
                                            <p:cond delay="0"/>
                                          </p:stCondLst>
                                        </p:cTn>
                                        <p:tgtEl>
                                          <p:spTgt spid="119"/>
                                        </p:tgtEl>
                                        <p:attrNameLst>
                                          <p:attrName>style.visibility</p:attrName>
                                        </p:attrNameLst>
                                      </p:cBhvr>
                                      <p:to>
                                        <p:strVal val="visible"/>
                                      </p:to>
                                    </p:set>
                                    <p:anim calcmode="lin" valueType="num">
                                      <p:cBhvr>
                                        <p:cTn id="21" dur="500" fill="hold"/>
                                        <p:tgtEl>
                                          <p:spTgt spid="119"/>
                                        </p:tgtEl>
                                        <p:attrNameLst>
                                          <p:attrName>ppt_w</p:attrName>
                                        </p:attrNameLst>
                                      </p:cBhvr>
                                      <p:tavLst>
                                        <p:tav tm="0">
                                          <p:val>
                                            <p:strVal val="2/3*#ppt_w"/>
                                          </p:val>
                                        </p:tav>
                                        <p:tav tm="100000">
                                          <p:val>
                                            <p:strVal val="#ppt_w"/>
                                          </p:val>
                                        </p:tav>
                                      </p:tavLst>
                                    </p:anim>
                                    <p:anim calcmode="lin" valueType="num">
                                      <p:cBhvr>
                                        <p:cTn id="22" dur="500" fill="hold"/>
                                        <p:tgtEl>
                                          <p:spTgt spid="119"/>
                                        </p:tgtEl>
                                        <p:attrNameLst>
                                          <p:attrName>ppt_h</p:attrName>
                                        </p:attrNameLst>
                                      </p:cBhvr>
                                      <p:tavLst>
                                        <p:tav tm="0">
                                          <p:val>
                                            <p:strVal val="2/3*#ppt_h"/>
                                          </p:val>
                                        </p:tav>
                                        <p:tav tm="100000">
                                          <p:val>
                                            <p:strVal val="#ppt_h"/>
                                          </p:val>
                                        </p:tav>
                                      </p:tavLst>
                                    </p:anim>
                                  </p:childTnLst>
                                </p:cTn>
                              </p:par>
                              <p:par>
                                <p:cTn id="23" presetID="10" presetClass="entr" presetSubtype="0" fill="hold" nodeType="withEffect">
                                  <p:stCondLst>
                                    <p:cond delay="250"/>
                                  </p:stCondLst>
                                  <p:childTnLst>
                                    <p:set>
                                      <p:cBhvr>
                                        <p:cTn id="24" dur="1" fill="hold">
                                          <p:stCondLst>
                                            <p:cond delay="0"/>
                                          </p:stCondLst>
                                        </p:cTn>
                                        <p:tgtEl>
                                          <p:spTgt spid="119"/>
                                        </p:tgtEl>
                                        <p:attrNameLst>
                                          <p:attrName>style.visibility</p:attrName>
                                        </p:attrNameLst>
                                      </p:cBhvr>
                                      <p:to>
                                        <p:strVal val="visible"/>
                                      </p:to>
                                    </p:set>
                                    <p:animEffect transition="in" filter="fade">
                                      <p:cBhvr>
                                        <p:cTn id="25" dur="500"/>
                                        <p:tgtEl>
                                          <p:spTgt spid="119"/>
                                        </p:tgtEl>
                                      </p:cBhvr>
                                    </p:animEffect>
                                  </p:childTnLst>
                                </p:cTn>
                              </p:par>
                              <p:par>
                                <p:cTn id="26" presetID="23" presetClass="entr" presetSubtype="272" fill="hold" nodeType="withEffect">
                                  <p:stCondLst>
                                    <p:cond delay="250"/>
                                  </p:stCondLst>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w</p:attrName>
                                        </p:attrNameLst>
                                      </p:cBhvr>
                                      <p:tavLst>
                                        <p:tav tm="0">
                                          <p:val>
                                            <p:strVal val="2/3*#ppt_w"/>
                                          </p:val>
                                        </p:tav>
                                        <p:tav tm="100000">
                                          <p:val>
                                            <p:strVal val="#ppt_w"/>
                                          </p:val>
                                        </p:tav>
                                      </p:tavLst>
                                    </p:anim>
                                    <p:anim calcmode="lin" valueType="num">
                                      <p:cBhvr>
                                        <p:cTn id="29" dur="500" fill="hold"/>
                                        <p:tgtEl>
                                          <p:spTgt spid="3"/>
                                        </p:tgtEl>
                                        <p:attrNameLst>
                                          <p:attrName>ppt_h</p:attrName>
                                        </p:attrNameLst>
                                      </p:cBhvr>
                                      <p:tavLst>
                                        <p:tav tm="0">
                                          <p:val>
                                            <p:strVal val="2/3*#ppt_h"/>
                                          </p:val>
                                        </p:tav>
                                        <p:tav tm="100000">
                                          <p:val>
                                            <p:strVal val="#ppt_h"/>
                                          </p:val>
                                        </p:tav>
                                      </p:tavLst>
                                    </p:anim>
                                  </p:childTnLst>
                                </p:cTn>
                              </p:par>
                              <p:par>
                                <p:cTn id="30" presetID="10" presetClass="entr" presetSubtype="0" fill="hold" nodeType="withEffect">
                                  <p:stCondLst>
                                    <p:cond delay="25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2" grpId="0" animBg="1"/>
      <p:bldP spid="95" grpId="0"/>
      <p:bldP spid="95" grpId="1"/>
      <p:bldP spid="95" grpId="2"/>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grpSp>
        <p:nvGrpSpPr>
          <p:cNvPr id="17" name="Group 60"/>
          <p:cNvGrpSpPr>
            <a:grpSpLocks noChangeAspect="1"/>
          </p:cNvGrpSpPr>
          <p:nvPr/>
        </p:nvGrpSpPr>
        <p:grpSpPr bwMode="auto">
          <a:xfrm>
            <a:off x="6340781" y="3134812"/>
            <a:ext cx="1159212" cy="863059"/>
            <a:chOff x="2835" y="1409"/>
            <a:chExt cx="2008" cy="1495"/>
          </a:xfrm>
        </p:grpSpPr>
        <p:sp>
          <p:nvSpPr>
            <p:cNvPr id="18" name="Freeform 61"/>
            <p:cNvSpPr>
              <a:spLocks/>
            </p:cNvSpPr>
            <p:nvPr/>
          </p:nvSpPr>
          <p:spPr bwMode="auto">
            <a:xfrm>
              <a:off x="3272" y="1409"/>
              <a:ext cx="1478" cy="1423"/>
            </a:xfrm>
            <a:custGeom>
              <a:avLst/>
              <a:gdLst>
                <a:gd name="T0" fmla="*/ 836 w 836"/>
                <a:gd name="T1" fmla="*/ 717 h 804"/>
                <a:gd name="T2" fmla="*/ 781 w 836"/>
                <a:gd name="T3" fmla="*/ 798 h 804"/>
                <a:gd name="T4" fmla="*/ 60 w 836"/>
                <a:gd name="T5" fmla="*/ 804 h 804"/>
                <a:gd name="T6" fmla="*/ 0 w 836"/>
                <a:gd name="T7" fmla="*/ 735 h 804"/>
                <a:gd name="T8" fmla="*/ 0 w 836"/>
                <a:gd name="T9" fmla="*/ 186 h 804"/>
                <a:gd name="T10" fmla="*/ 60 w 836"/>
                <a:gd name="T11" fmla="*/ 108 h 804"/>
                <a:gd name="T12" fmla="*/ 781 w 836"/>
                <a:gd name="T13" fmla="*/ 4 h 804"/>
                <a:gd name="T14" fmla="*/ 836 w 836"/>
                <a:gd name="T15" fmla="*/ 77 h 804"/>
                <a:gd name="T16" fmla="*/ 836 w 836"/>
                <a:gd name="T17" fmla="*/ 717 h 804"/>
                <a:gd name="T18" fmla="*/ 836 w 836"/>
                <a:gd name="T1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6" h="804">
                  <a:moveTo>
                    <a:pt x="836" y="717"/>
                  </a:moveTo>
                  <a:cubicBezTo>
                    <a:pt x="836" y="764"/>
                    <a:pt x="811" y="798"/>
                    <a:pt x="781" y="798"/>
                  </a:cubicBezTo>
                  <a:cubicBezTo>
                    <a:pt x="60" y="804"/>
                    <a:pt x="60" y="804"/>
                    <a:pt x="60" y="804"/>
                  </a:cubicBezTo>
                  <a:cubicBezTo>
                    <a:pt x="25" y="804"/>
                    <a:pt x="0" y="776"/>
                    <a:pt x="0" y="735"/>
                  </a:cubicBezTo>
                  <a:cubicBezTo>
                    <a:pt x="0" y="186"/>
                    <a:pt x="0" y="186"/>
                    <a:pt x="0" y="186"/>
                  </a:cubicBezTo>
                  <a:cubicBezTo>
                    <a:pt x="0" y="145"/>
                    <a:pt x="25" y="113"/>
                    <a:pt x="60" y="108"/>
                  </a:cubicBezTo>
                  <a:cubicBezTo>
                    <a:pt x="781" y="4"/>
                    <a:pt x="781" y="4"/>
                    <a:pt x="781" y="4"/>
                  </a:cubicBezTo>
                  <a:cubicBezTo>
                    <a:pt x="811" y="0"/>
                    <a:pt x="836" y="30"/>
                    <a:pt x="836" y="77"/>
                  </a:cubicBezTo>
                  <a:cubicBezTo>
                    <a:pt x="836" y="717"/>
                    <a:pt x="836" y="717"/>
                    <a:pt x="836" y="717"/>
                  </a:cubicBezTo>
                  <a:cubicBezTo>
                    <a:pt x="836" y="717"/>
                    <a:pt x="836" y="717"/>
                    <a:pt x="836" y="717"/>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19" name="Freeform 62"/>
            <p:cNvSpPr>
              <a:spLocks/>
            </p:cNvSpPr>
            <p:nvPr/>
          </p:nvSpPr>
          <p:spPr bwMode="auto">
            <a:xfrm>
              <a:off x="3307" y="1458"/>
              <a:ext cx="1407" cy="1333"/>
            </a:xfrm>
            <a:custGeom>
              <a:avLst/>
              <a:gdLst>
                <a:gd name="T0" fmla="*/ 40 w 796"/>
                <a:gd name="T1" fmla="*/ 752 h 753"/>
                <a:gd name="T2" fmla="*/ 0 w 796"/>
                <a:gd name="T3" fmla="*/ 707 h 753"/>
                <a:gd name="T4" fmla="*/ 0 w 796"/>
                <a:gd name="T5" fmla="*/ 155 h 753"/>
                <a:gd name="T6" fmla="*/ 40 w 796"/>
                <a:gd name="T7" fmla="*/ 103 h 753"/>
                <a:gd name="T8" fmla="*/ 761 w 796"/>
                <a:gd name="T9" fmla="*/ 3 h 753"/>
                <a:gd name="T10" fmla="*/ 796 w 796"/>
                <a:gd name="T11" fmla="*/ 51 h 753"/>
                <a:gd name="T12" fmla="*/ 796 w 796"/>
                <a:gd name="T13" fmla="*/ 689 h 753"/>
                <a:gd name="T14" fmla="*/ 761 w 796"/>
                <a:gd name="T15" fmla="*/ 743 h 753"/>
                <a:gd name="T16" fmla="*/ 40 w 796"/>
                <a:gd name="T17" fmla="*/ 752 h 753"/>
                <a:gd name="T18" fmla="*/ 40 w 796"/>
                <a:gd name="T19" fmla="*/ 752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6" h="753">
                  <a:moveTo>
                    <a:pt x="40" y="752"/>
                  </a:moveTo>
                  <a:cubicBezTo>
                    <a:pt x="20" y="753"/>
                    <a:pt x="0" y="730"/>
                    <a:pt x="0" y="707"/>
                  </a:cubicBezTo>
                  <a:cubicBezTo>
                    <a:pt x="0" y="155"/>
                    <a:pt x="0" y="155"/>
                    <a:pt x="0" y="155"/>
                  </a:cubicBezTo>
                  <a:cubicBezTo>
                    <a:pt x="0" y="132"/>
                    <a:pt x="20" y="106"/>
                    <a:pt x="40" y="103"/>
                  </a:cubicBezTo>
                  <a:cubicBezTo>
                    <a:pt x="761" y="3"/>
                    <a:pt x="761" y="3"/>
                    <a:pt x="761" y="3"/>
                  </a:cubicBezTo>
                  <a:cubicBezTo>
                    <a:pt x="781" y="0"/>
                    <a:pt x="796" y="25"/>
                    <a:pt x="796" y="51"/>
                  </a:cubicBezTo>
                  <a:cubicBezTo>
                    <a:pt x="796" y="689"/>
                    <a:pt x="796" y="689"/>
                    <a:pt x="796" y="689"/>
                  </a:cubicBezTo>
                  <a:cubicBezTo>
                    <a:pt x="796" y="716"/>
                    <a:pt x="781" y="743"/>
                    <a:pt x="761" y="743"/>
                  </a:cubicBezTo>
                  <a:cubicBezTo>
                    <a:pt x="40" y="752"/>
                    <a:pt x="40" y="752"/>
                    <a:pt x="40" y="752"/>
                  </a:cubicBezTo>
                  <a:cubicBezTo>
                    <a:pt x="40" y="752"/>
                    <a:pt x="40" y="752"/>
                    <a:pt x="40" y="752"/>
                  </a:cubicBezTo>
                  <a:close/>
                </a:path>
              </a:pathLst>
            </a:custGeom>
            <a:solidFill>
              <a:srgbClr val="005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20" name="Freeform 63"/>
            <p:cNvSpPr>
              <a:spLocks/>
            </p:cNvSpPr>
            <p:nvPr/>
          </p:nvSpPr>
          <p:spPr bwMode="auto">
            <a:xfrm>
              <a:off x="2835" y="2791"/>
              <a:ext cx="2008" cy="113"/>
            </a:xfrm>
            <a:custGeom>
              <a:avLst/>
              <a:gdLst>
                <a:gd name="T0" fmla="*/ 40 w 1136"/>
                <a:gd name="T1" fmla="*/ 64 h 64"/>
                <a:gd name="T2" fmla="*/ 1096 w 1136"/>
                <a:gd name="T3" fmla="*/ 64 h 64"/>
                <a:gd name="T4" fmla="*/ 1136 w 1136"/>
                <a:gd name="T5" fmla="*/ 0 h 64"/>
                <a:gd name="T6" fmla="*/ 0 w 1136"/>
                <a:gd name="T7" fmla="*/ 12 h 64"/>
                <a:gd name="T8" fmla="*/ 40 w 1136"/>
                <a:gd name="T9" fmla="*/ 64 h 64"/>
              </a:gdLst>
              <a:ahLst/>
              <a:cxnLst>
                <a:cxn ang="0">
                  <a:pos x="T0" y="T1"/>
                </a:cxn>
                <a:cxn ang="0">
                  <a:pos x="T2" y="T3"/>
                </a:cxn>
                <a:cxn ang="0">
                  <a:pos x="T4" y="T5"/>
                </a:cxn>
                <a:cxn ang="0">
                  <a:pos x="T6" y="T7"/>
                </a:cxn>
                <a:cxn ang="0">
                  <a:pos x="T8" y="T9"/>
                </a:cxn>
              </a:cxnLst>
              <a:rect l="0" t="0" r="r" b="b"/>
              <a:pathLst>
                <a:path w="1136" h="64">
                  <a:moveTo>
                    <a:pt x="40" y="64"/>
                  </a:moveTo>
                  <a:cubicBezTo>
                    <a:pt x="1096" y="64"/>
                    <a:pt x="1096" y="64"/>
                    <a:pt x="1096" y="64"/>
                  </a:cubicBezTo>
                  <a:cubicBezTo>
                    <a:pt x="1121" y="64"/>
                    <a:pt x="1136" y="36"/>
                    <a:pt x="1136" y="0"/>
                  </a:cubicBezTo>
                  <a:cubicBezTo>
                    <a:pt x="0" y="12"/>
                    <a:pt x="0" y="12"/>
                    <a:pt x="0" y="12"/>
                  </a:cubicBezTo>
                  <a:cubicBezTo>
                    <a:pt x="0" y="41"/>
                    <a:pt x="20" y="64"/>
                    <a:pt x="40" y="64"/>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21" name="Freeform 64"/>
            <p:cNvSpPr>
              <a:spLocks/>
            </p:cNvSpPr>
            <p:nvPr/>
          </p:nvSpPr>
          <p:spPr bwMode="auto">
            <a:xfrm>
              <a:off x="3272" y="1409"/>
              <a:ext cx="1478" cy="1423"/>
            </a:xfrm>
            <a:custGeom>
              <a:avLst/>
              <a:gdLst>
                <a:gd name="T0" fmla="*/ 836 w 836"/>
                <a:gd name="T1" fmla="*/ 717 h 804"/>
                <a:gd name="T2" fmla="*/ 781 w 836"/>
                <a:gd name="T3" fmla="*/ 798 h 804"/>
                <a:gd name="T4" fmla="*/ 60 w 836"/>
                <a:gd name="T5" fmla="*/ 804 h 804"/>
                <a:gd name="T6" fmla="*/ 0 w 836"/>
                <a:gd name="T7" fmla="*/ 735 h 804"/>
                <a:gd name="T8" fmla="*/ 0 w 836"/>
                <a:gd name="T9" fmla="*/ 186 h 804"/>
                <a:gd name="T10" fmla="*/ 60 w 836"/>
                <a:gd name="T11" fmla="*/ 108 h 804"/>
                <a:gd name="T12" fmla="*/ 781 w 836"/>
                <a:gd name="T13" fmla="*/ 4 h 804"/>
                <a:gd name="T14" fmla="*/ 836 w 836"/>
                <a:gd name="T15" fmla="*/ 77 h 804"/>
                <a:gd name="T16" fmla="*/ 836 w 836"/>
                <a:gd name="T17" fmla="*/ 717 h 804"/>
                <a:gd name="T18" fmla="*/ 836 w 836"/>
                <a:gd name="T1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6" h="804">
                  <a:moveTo>
                    <a:pt x="836" y="717"/>
                  </a:moveTo>
                  <a:cubicBezTo>
                    <a:pt x="836" y="764"/>
                    <a:pt x="811" y="798"/>
                    <a:pt x="781" y="798"/>
                  </a:cubicBezTo>
                  <a:cubicBezTo>
                    <a:pt x="60" y="804"/>
                    <a:pt x="60" y="804"/>
                    <a:pt x="60" y="804"/>
                  </a:cubicBezTo>
                  <a:cubicBezTo>
                    <a:pt x="25" y="804"/>
                    <a:pt x="0" y="776"/>
                    <a:pt x="0" y="735"/>
                  </a:cubicBezTo>
                  <a:cubicBezTo>
                    <a:pt x="0" y="186"/>
                    <a:pt x="0" y="186"/>
                    <a:pt x="0" y="186"/>
                  </a:cubicBezTo>
                  <a:cubicBezTo>
                    <a:pt x="0" y="145"/>
                    <a:pt x="25" y="113"/>
                    <a:pt x="60" y="108"/>
                  </a:cubicBezTo>
                  <a:cubicBezTo>
                    <a:pt x="781" y="4"/>
                    <a:pt x="781" y="4"/>
                    <a:pt x="781" y="4"/>
                  </a:cubicBezTo>
                  <a:cubicBezTo>
                    <a:pt x="811" y="0"/>
                    <a:pt x="836" y="30"/>
                    <a:pt x="836" y="77"/>
                  </a:cubicBezTo>
                  <a:cubicBezTo>
                    <a:pt x="836" y="717"/>
                    <a:pt x="836" y="717"/>
                    <a:pt x="836" y="717"/>
                  </a:cubicBezTo>
                  <a:cubicBezTo>
                    <a:pt x="836" y="717"/>
                    <a:pt x="836" y="717"/>
                    <a:pt x="836" y="717"/>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22" name="Freeform 65"/>
            <p:cNvSpPr>
              <a:spLocks/>
            </p:cNvSpPr>
            <p:nvPr/>
          </p:nvSpPr>
          <p:spPr bwMode="auto">
            <a:xfrm>
              <a:off x="3307" y="1458"/>
              <a:ext cx="1407" cy="1333"/>
            </a:xfrm>
            <a:custGeom>
              <a:avLst/>
              <a:gdLst>
                <a:gd name="T0" fmla="*/ 40 w 796"/>
                <a:gd name="T1" fmla="*/ 752 h 753"/>
                <a:gd name="T2" fmla="*/ 0 w 796"/>
                <a:gd name="T3" fmla="*/ 707 h 753"/>
                <a:gd name="T4" fmla="*/ 0 w 796"/>
                <a:gd name="T5" fmla="*/ 155 h 753"/>
                <a:gd name="T6" fmla="*/ 40 w 796"/>
                <a:gd name="T7" fmla="*/ 103 h 753"/>
                <a:gd name="T8" fmla="*/ 761 w 796"/>
                <a:gd name="T9" fmla="*/ 3 h 753"/>
                <a:gd name="T10" fmla="*/ 796 w 796"/>
                <a:gd name="T11" fmla="*/ 51 h 753"/>
                <a:gd name="T12" fmla="*/ 796 w 796"/>
                <a:gd name="T13" fmla="*/ 689 h 753"/>
                <a:gd name="T14" fmla="*/ 761 w 796"/>
                <a:gd name="T15" fmla="*/ 743 h 753"/>
                <a:gd name="T16" fmla="*/ 40 w 796"/>
                <a:gd name="T17" fmla="*/ 752 h 753"/>
                <a:gd name="T18" fmla="*/ 40 w 796"/>
                <a:gd name="T19" fmla="*/ 752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6" h="753">
                  <a:moveTo>
                    <a:pt x="40" y="752"/>
                  </a:moveTo>
                  <a:cubicBezTo>
                    <a:pt x="20" y="753"/>
                    <a:pt x="0" y="730"/>
                    <a:pt x="0" y="707"/>
                  </a:cubicBezTo>
                  <a:cubicBezTo>
                    <a:pt x="0" y="155"/>
                    <a:pt x="0" y="155"/>
                    <a:pt x="0" y="155"/>
                  </a:cubicBezTo>
                  <a:cubicBezTo>
                    <a:pt x="0" y="132"/>
                    <a:pt x="20" y="106"/>
                    <a:pt x="40" y="103"/>
                  </a:cubicBezTo>
                  <a:cubicBezTo>
                    <a:pt x="761" y="3"/>
                    <a:pt x="761" y="3"/>
                    <a:pt x="761" y="3"/>
                  </a:cubicBezTo>
                  <a:cubicBezTo>
                    <a:pt x="781" y="0"/>
                    <a:pt x="796" y="25"/>
                    <a:pt x="796" y="51"/>
                  </a:cubicBezTo>
                  <a:cubicBezTo>
                    <a:pt x="796" y="689"/>
                    <a:pt x="796" y="689"/>
                    <a:pt x="796" y="689"/>
                  </a:cubicBezTo>
                  <a:cubicBezTo>
                    <a:pt x="796" y="716"/>
                    <a:pt x="781" y="743"/>
                    <a:pt x="761" y="743"/>
                  </a:cubicBezTo>
                  <a:cubicBezTo>
                    <a:pt x="40" y="752"/>
                    <a:pt x="40" y="752"/>
                    <a:pt x="40" y="752"/>
                  </a:cubicBezTo>
                  <a:cubicBezTo>
                    <a:pt x="40" y="752"/>
                    <a:pt x="40" y="752"/>
                    <a:pt x="40" y="75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23" name="Freeform 66"/>
            <p:cNvSpPr>
              <a:spLocks/>
            </p:cNvSpPr>
            <p:nvPr/>
          </p:nvSpPr>
          <p:spPr bwMode="auto">
            <a:xfrm>
              <a:off x="2835" y="2791"/>
              <a:ext cx="2008" cy="113"/>
            </a:xfrm>
            <a:custGeom>
              <a:avLst/>
              <a:gdLst>
                <a:gd name="T0" fmla="*/ 40 w 1136"/>
                <a:gd name="T1" fmla="*/ 64 h 64"/>
                <a:gd name="T2" fmla="*/ 1096 w 1136"/>
                <a:gd name="T3" fmla="*/ 64 h 64"/>
                <a:gd name="T4" fmla="*/ 1136 w 1136"/>
                <a:gd name="T5" fmla="*/ 0 h 64"/>
                <a:gd name="T6" fmla="*/ 0 w 1136"/>
                <a:gd name="T7" fmla="*/ 12 h 64"/>
                <a:gd name="T8" fmla="*/ 40 w 1136"/>
                <a:gd name="T9" fmla="*/ 64 h 64"/>
              </a:gdLst>
              <a:ahLst/>
              <a:cxnLst>
                <a:cxn ang="0">
                  <a:pos x="T0" y="T1"/>
                </a:cxn>
                <a:cxn ang="0">
                  <a:pos x="T2" y="T3"/>
                </a:cxn>
                <a:cxn ang="0">
                  <a:pos x="T4" y="T5"/>
                </a:cxn>
                <a:cxn ang="0">
                  <a:pos x="T6" y="T7"/>
                </a:cxn>
                <a:cxn ang="0">
                  <a:pos x="T8" y="T9"/>
                </a:cxn>
              </a:cxnLst>
              <a:rect l="0" t="0" r="r" b="b"/>
              <a:pathLst>
                <a:path w="1136" h="64">
                  <a:moveTo>
                    <a:pt x="40" y="64"/>
                  </a:moveTo>
                  <a:cubicBezTo>
                    <a:pt x="1096" y="64"/>
                    <a:pt x="1096" y="64"/>
                    <a:pt x="1096" y="64"/>
                  </a:cubicBezTo>
                  <a:cubicBezTo>
                    <a:pt x="1121" y="64"/>
                    <a:pt x="1136" y="36"/>
                    <a:pt x="1136" y="0"/>
                  </a:cubicBezTo>
                  <a:cubicBezTo>
                    <a:pt x="0" y="12"/>
                    <a:pt x="0" y="12"/>
                    <a:pt x="0" y="12"/>
                  </a:cubicBezTo>
                  <a:cubicBezTo>
                    <a:pt x="0" y="41"/>
                    <a:pt x="20" y="64"/>
                    <a:pt x="40" y="64"/>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grpSp>
      <p:sp>
        <p:nvSpPr>
          <p:cNvPr id="55" name="Freeform 54"/>
          <p:cNvSpPr/>
          <p:nvPr/>
        </p:nvSpPr>
        <p:spPr>
          <a:xfrm rot="5400000">
            <a:off x="4499132" y="1114286"/>
            <a:ext cx="2759170" cy="3510456"/>
          </a:xfrm>
          <a:custGeom>
            <a:avLst/>
            <a:gdLst>
              <a:gd name="connsiteX0" fmla="*/ 0 w 3637733"/>
              <a:gd name="connsiteY0" fmla="*/ 4283490 h 4628240"/>
              <a:gd name="connsiteX1" fmla="*/ 1 w 3637733"/>
              <a:gd name="connsiteY1" fmla="*/ 94483 h 4628240"/>
              <a:gd name="connsiteX2" fmla="*/ 1 w 3637733"/>
              <a:gd name="connsiteY2" fmla="*/ 0 h 4628240"/>
              <a:gd name="connsiteX3" fmla="*/ 3637733 w 3637733"/>
              <a:gd name="connsiteY3" fmla="*/ 4628240 h 4628240"/>
              <a:gd name="connsiteX4" fmla="*/ 3406160 w 3637733"/>
              <a:gd name="connsiteY4" fmla="*/ 4628240 h 4628240"/>
              <a:gd name="connsiteX5" fmla="*/ 346208 w 3637733"/>
              <a:gd name="connsiteY5" fmla="*/ 4628240 h 4628240"/>
              <a:gd name="connsiteX6" fmla="*/ 0 w 3637733"/>
              <a:gd name="connsiteY6" fmla="*/ 4283490 h 462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7733" h="4628240">
                <a:moveTo>
                  <a:pt x="0" y="4283490"/>
                </a:moveTo>
                <a:cubicBezTo>
                  <a:pt x="1" y="2344275"/>
                  <a:pt x="1" y="1011064"/>
                  <a:pt x="1" y="94483"/>
                </a:cubicBezTo>
                <a:lnTo>
                  <a:pt x="1" y="0"/>
                </a:lnTo>
                <a:lnTo>
                  <a:pt x="3637733" y="4628240"/>
                </a:lnTo>
                <a:lnTo>
                  <a:pt x="3406160" y="4628240"/>
                </a:lnTo>
                <a:cubicBezTo>
                  <a:pt x="346208" y="4628240"/>
                  <a:pt x="346208" y="4628240"/>
                  <a:pt x="346208" y="4628240"/>
                </a:cubicBezTo>
                <a:cubicBezTo>
                  <a:pt x="173104" y="4628240"/>
                  <a:pt x="0" y="4455865"/>
                  <a:pt x="0" y="4283490"/>
                </a:cubicBezTo>
                <a:close/>
              </a:path>
            </a:pathLst>
          </a:custGeom>
          <a:solidFill>
            <a:schemeClr val="bg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053" tIns="45053" rIns="45053" bIns="45053" rtlCol="0" anchor="ctr"/>
          <a:lstStyle/>
          <a:p>
            <a:pPr defTabSz="754380"/>
            <a:endParaRPr lang="en-GB" sz="1238" dirty="0" err="1">
              <a:solidFill>
                <a:prstClr val="white"/>
              </a:solidFill>
            </a:endParaRPr>
          </a:p>
        </p:txBody>
      </p:sp>
      <p:grpSp>
        <p:nvGrpSpPr>
          <p:cNvPr id="66" name="Group 13"/>
          <p:cNvGrpSpPr>
            <a:grpSpLocks noChangeAspect="1"/>
          </p:cNvGrpSpPr>
          <p:nvPr/>
        </p:nvGrpSpPr>
        <p:grpSpPr bwMode="auto">
          <a:xfrm>
            <a:off x="2707224" y="1271273"/>
            <a:ext cx="7926610" cy="4198331"/>
            <a:chOff x="1867" y="1113"/>
            <a:chExt cx="3946" cy="2090"/>
          </a:xfrm>
        </p:grpSpPr>
        <p:sp>
          <p:nvSpPr>
            <p:cNvPr id="68" name="Freeform 14"/>
            <p:cNvSpPr>
              <a:spLocks/>
            </p:cNvSpPr>
            <p:nvPr/>
          </p:nvSpPr>
          <p:spPr bwMode="auto">
            <a:xfrm>
              <a:off x="1867" y="3037"/>
              <a:ext cx="3946" cy="166"/>
            </a:xfrm>
            <a:custGeom>
              <a:avLst/>
              <a:gdLst>
                <a:gd name="T0" fmla="*/ 2192 w 2236"/>
                <a:gd name="T1" fmla="*/ 94 h 94"/>
                <a:gd name="T2" fmla="*/ 43 w 2236"/>
                <a:gd name="T3" fmla="*/ 94 h 94"/>
                <a:gd name="T4" fmla="*/ 0 w 2236"/>
                <a:gd name="T5" fmla="*/ 51 h 94"/>
                <a:gd name="T6" fmla="*/ 0 w 2236"/>
                <a:gd name="T7" fmla="*/ 15 h 94"/>
                <a:gd name="T8" fmla="*/ 14 w 2236"/>
                <a:gd name="T9" fmla="*/ 0 h 94"/>
                <a:gd name="T10" fmla="*/ 2221 w 2236"/>
                <a:gd name="T11" fmla="*/ 0 h 94"/>
                <a:gd name="T12" fmla="*/ 2236 w 2236"/>
                <a:gd name="T13" fmla="*/ 15 h 94"/>
                <a:gd name="T14" fmla="*/ 2236 w 2236"/>
                <a:gd name="T15" fmla="*/ 51 h 94"/>
                <a:gd name="T16" fmla="*/ 2192 w 2236"/>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6" h="94">
                  <a:moveTo>
                    <a:pt x="2192" y="94"/>
                  </a:moveTo>
                  <a:cubicBezTo>
                    <a:pt x="43" y="94"/>
                    <a:pt x="43" y="94"/>
                    <a:pt x="43" y="94"/>
                  </a:cubicBezTo>
                  <a:cubicBezTo>
                    <a:pt x="19" y="94"/>
                    <a:pt x="0" y="75"/>
                    <a:pt x="0" y="51"/>
                  </a:cubicBezTo>
                  <a:cubicBezTo>
                    <a:pt x="0" y="15"/>
                    <a:pt x="0" y="15"/>
                    <a:pt x="0" y="15"/>
                  </a:cubicBezTo>
                  <a:cubicBezTo>
                    <a:pt x="0" y="7"/>
                    <a:pt x="6" y="0"/>
                    <a:pt x="14" y="0"/>
                  </a:cubicBezTo>
                  <a:cubicBezTo>
                    <a:pt x="2221" y="0"/>
                    <a:pt x="2221" y="0"/>
                    <a:pt x="2221" y="0"/>
                  </a:cubicBezTo>
                  <a:cubicBezTo>
                    <a:pt x="2229" y="0"/>
                    <a:pt x="2236" y="7"/>
                    <a:pt x="2236" y="15"/>
                  </a:cubicBezTo>
                  <a:cubicBezTo>
                    <a:pt x="2236" y="51"/>
                    <a:pt x="2236" y="51"/>
                    <a:pt x="2236" y="51"/>
                  </a:cubicBezTo>
                  <a:cubicBezTo>
                    <a:pt x="2236" y="75"/>
                    <a:pt x="2216" y="94"/>
                    <a:pt x="2192" y="94"/>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69" name="Freeform 15"/>
            <p:cNvSpPr>
              <a:spLocks/>
            </p:cNvSpPr>
            <p:nvPr/>
          </p:nvSpPr>
          <p:spPr bwMode="auto">
            <a:xfrm>
              <a:off x="3535" y="3037"/>
              <a:ext cx="610" cy="65"/>
            </a:xfrm>
            <a:custGeom>
              <a:avLst/>
              <a:gdLst>
                <a:gd name="T0" fmla="*/ 314 w 346"/>
                <a:gd name="T1" fmla="*/ 37 h 37"/>
                <a:gd name="T2" fmla="*/ 31 w 346"/>
                <a:gd name="T3" fmla="*/ 37 h 37"/>
                <a:gd name="T4" fmla="*/ 0 w 346"/>
                <a:gd name="T5" fmla="*/ 5 h 37"/>
                <a:gd name="T6" fmla="*/ 0 w 346"/>
                <a:gd name="T7" fmla="*/ 0 h 37"/>
                <a:gd name="T8" fmla="*/ 346 w 346"/>
                <a:gd name="T9" fmla="*/ 0 h 37"/>
                <a:gd name="T10" fmla="*/ 346 w 346"/>
                <a:gd name="T11" fmla="*/ 5 h 37"/>
                <a:gd name="T12" fmla="*/ 314 w 346"/>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346" h="37">
                  <a:moveTo>
                    <a:pt x="314" y="37"/>
                  </a:moveTo>
                  <a:cubicBezTo>
                    <a:pt x="31" y="37"/>
                    <a:pt x="31" y="37"/>
                    <a:pt x="31" y="37"/>
                  </a:cubicBezTo>
                  <a:cubicBezTo>
                    <a:pt x="14" y="37"/>
                    <a:pt x="0" y="23"/>
                    <a:pt x="0" y="5"/>
                  </a:cubicBezTo>
                  <a:cubicBezTo>
                    <a:pt x="0" y="0"/>
                    <a:pt x="0" y="0"/>
                    <a:pt x="0" y="0"/>
                  </a:cubicBezTo>
                  <a:cubicBezTo>
                    <a:pt x="346" y="0"/>
                    <a:pt x="346" y="0"/>
                    <a:pt x="346" y="0"/>
                  </a:cubicBezTo>
                  <a:cubicBezTo>
                    <a:pt x="346" y="5"/>
                    <a:pt x="346" y="5"/>
                    <a:pt x="346" y="5"/>
                  </a:cubicBezTo>
                  <a:cubicBezTo>
                    <a:pt x="346" y="23"/>
                    <a:pt x="331" y="37"/>
                    <a:pt x="314" y="37"/>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70" name="Freeform 16"/>
            <p:cNvSpPr>
              <a:spLocks/>
            </p:cNvSpPr>
            <p:nvPr/>
          </p:nvSpPr>
          <p:spPr bwMode="auto">
            <a:xfrm>
              <a:off x="2273" y="1113"/>
              <a:ext cx="3133" cy="1929"/>
            </a:xfrm>
            <a:custGeom>
              <a:avLst/>
              <a:gdLst>
                <a:gd name="T0" fmla="*/ 1751 w 1775"/>
                <a:gd name="T1" fmla="*/ 1091 h 1091"/>
                <a:gd name="T2" fmla="*/ 24 w 1775"/>
                <a:gd name="T3" fmla="*/ 1091 h 1091"/>
                <a:gd name="T4" fmla="*/ 0 w 1775"/>
                <a:gd name="T5" fmla="*/ 1067 h 1091"/>
                <a:gd name="T6" fmla="*/ 0 w 1775"/>
                <a:gd name="T7" fmla="*/ 53 h 1091"/>
                <a:gd name="T8" fmla="*/ 53 w 1775"/>
                <a:gd name="T9" fmla="*/ 0 h 1091"/>
                <a:gd name="T10" fmla="*/ 1722 w 1775"/>
                <a:gd name="T11" fmla="*/ 0 h 1091"/>
                <a:gd name="T12" fmla="*/ 1775 w 1775"/>
                <a:gd name="T13" fmla="*/ 53 h 1091"/>
                <a:gd name="T14" fmla="*/ 1775 w 1775"/>
                <a:gd name="T15" fmla="*/ 1067 h 1091"/>
                <a:gd name="T16" fmla="*/ 1751 w 1775"/>
                <a:gd name="T17" fmla="*/ 1091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5" h="1091">
                  <a:moveTo>
                    <a:pt x="1751" y="1091"/>
                  </a:moveTo>
                  <a:cubicBezTo>
                    <a:pt x="24" y="1091"/>
                    <a:pt x="24" y="1091"/>
                    <a:pt x="24" y="1091"/>
                  </a:cubicBezTo>
                  <a:cubicBezTo>
                    <a:pt x="11" y="1091"/>
                    <a:pt x="0" y="1080"/>
                    <a:pt x="0" y="1067"/>
                  </a:cubicBezTo>
                  <a:cubicBezTo>
                    <a:pt x="0" y="53"/>
                    <a:pt x="0" y="53"/>
                    <a:pt x="0" y="53"/>
                  </a:cubicBezTo>
                  <a:cubicBezTo>
                    <a:pt x="0" y="24"/>
                    <a:pt x="24" y="0"/>
                    <a:pt x="53" y="0"/>
                  </a:cubicBezTo>
                  <a:cubicBezTo>
                    <a:pt x="1722" y="0"/>
                    <a:pt x="1722" y="0"/>
                    <a:pt x="1722" y="0"/>
                  </a:cubicBezTo>
                  <a:cubicBezTo>
                    <a:pt x="1751" y="0"/>
                    <a:pt x="1775" y="24"/>
                    <a:pt x="1775" y="53"/>
                  </a:cubicBezTo>
                  <a:cubicBezTo>
                    <a:pt x="1775" y="1067"/>
                    <a:pt x="1775" y="1067"/>
                    <a:pt x="1775" y="1067"/>
                  </a:cubicBezTo>
                  <a:cubicBezTo>
                    <a:pt x="1775" y="1080"/>
                    <a:pt x="1764" y="1091"/>
                    <a:pt x="1751" y="1091"/>
                  </a:cubicBez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71" name="Freeform 17"/>
            <p:cNvSpPr>
              <a:spLocks/>
            </p:cNvSpPr>
            <p:nvPr/>
          </p:nvSpPr>
          <p:spPr bwMode="auto">
            <a:xfrm>
              <a:off x="2324" y="1211"/>
              <a:ext cx="3020" cy="1700"/>
            </a:xfrm>
            <a:custGeom>
              <a:avLst/>
              <a:gdLst>
                <a:gd name="T0" fmla="*/ 1696 w 1711"/>
                <a:gd name="T1" fmla="*/ 962 h 962"/>
                <a:gd name="T2" fmla="*/ 14 w 1711"/>
                <a:gd name="T3" fmla="*/ 962 h 962"/>
                <a:gd name="T4" fmla="*/ 0 w 1711"/>
                <a:gd name="T5" fmla="*/ 948 h 962"/>
                <a:gd name="T6" fmla="*/ 0 w 1711"/>
                <a:gd name="T7" fmla="*/ 14 h 962"/>
                <a:gd name="T8" fmla="*/ 14 w 1711"/>
                <a:gd name="T9" fmla="*/ 0 h 962"/>
                <a:gd name="T10" fmla="*/ 1696 w 1711"/>
                <a:gd name="T11" fmla="*/ 0 h 962"/>
                <a:gd name="T12" fmla="*/ 1711 w 1711"/>
                <a:gd name="T13" fmla="*/ 14 h 962"/>
                <a:gd name="T14" fmla="*/ 1711 w 1711"/>
                <a:gd name="T15" fmla="*/ 948 h 962"/>
                <a:gd name="T16" fmla="*/ 1696 w 1711"/>
                <a:gd name="T17" fmla="*/ 962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1" h="962">
                  <a:moveTo>
                    <a:pt x="1696" y="962"/>
                  </a:moveTo>
                  <a:cubicBezTo>
                    <a:pt x="14" y="962"/>
                    <a:pt x="14" y="962"/>
                    <a:pt x="14" y="962"/>
                  </a:cubicBezTo>
                  <a:cubicBezTo>
                    <a:pt x="6" y="962"/>
                    <a:pt x="0" y="956"/>
                    <a:pt x="0" y="948"/>
                  </a:cubicBezTo>
                  <a:cubicBezTo>
                    <a:pt x="0" y="14"/>
                    <a:pt x="0" y="14"/>
                    <a:pt x="0" y="14"/>
                  </a:cubicBezTo>
                  <a:cubicBezTo>
                    <a:pt x="0" y="6"/>
                    <a:pt x="6" y="0"/>
                    <a:pt x="14" y="0"/>
                  </a:cubicBezTo>
                  <a:cubicBezTo>
                    <a:pt x="1696" y="0"/>
                    <a:pt x="1696" y="0"/>
                    <a:pt x="1696" y="0"/>
                  </a:cubicBezTo>
                  <a:cubicBezTo>
                    <a:pt x="1704" y="0"/>
                    <a:pt x="1711" y="6"/>
                    <a:pt x="1711" y="14"/>
                  </a:cubicBezTo>
                  <a:cubicBezTo>
                    <a:pt x="1711" y="948"/>
                    <a:pt x="1711" y="948"/>
                    <a:pt x="1711" y="948"/>
                  </a:cubicBezTo>
                  <a:cubicBezTo>
                    <a:pt x="1711" y="956"/>
                    <a:pt x="1704" y="962"/>
                    <a:pt x="1696" y="96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72" name="Oval 18"/>
            <p:cNvSpPr>
              <a:spLocks noChangeArrowheads="1"/>
            </p:cNvSpPr>
            <p:nvPr/>
          </p:nvSpPr>
          <p:spPr bwMode="auto">
            <a:xfrm>
              <a:off x="3814" y="1138"/>
              <a:ext cx="51" cy="51"/>
            </a:xfrm>
            <a:prstGeom prst="ellipse">
              <a:avLst/>
            </a:pr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grpSp>
      <p:grpSp>
        <p:nvGrpSpPr>
          <p:cNvPr id="58" name="Group 57"/>
          <p:cNvGrpSpPr/>
          <p:nvPr/>
        </p:nvGrpSpPr>
        <p:grpSpPr>
          <a:xfrm>
            <a:off x="4674893" y="2119072"/>
            <a:ext cx="4086170" cy="2459973"/>
            <a:chOff x="3619534" y="1478506"/>
            <a:chExt cx="4952933" cy="2981786"/>
          </a:xfrm>
        </p:grpSpPr>
        <p:sp>
          <p:nvSpPr>
            <p:cNvPr id="56" name="Rounded Rectangle 55"/>
            <p:cNvSpPr/>
            <p:nvPr/>
          </p:nvSpPr>
          <p:spPr>
            <a:xfrm>
              <a:off x="3619534" y="1478506"/>
              <a:ext cx="4952933" cy="2981786"/>
            </a:xfrm>
            <a:prstGeom prst="roundRect">
              <a:avLst>
                <a:gd name="adj" fmla="val 7971"/>
              </a:avLst>
            </a:prstGeom>
            <a:solidFill>
              <a:schemeClr val="bg2">
                <a:lumMod val="90000"/>
              </a:schemeClr>
            </a:solidFill>
            <a:ln>
              <a:noFill/>
            </a:ln>
            <a:effectLst>
              <a:outerShdw blurRad="419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053" tIns="207900" rIns="45053" bIns="45053" rtlCol="0" anchor="t" anchorCtr="0"/>
            <a:lstStyle/>
            <a:p>
              <a:pPr algn="ctr" defTabSz="754380"/>
              <a:r>
                <a:rPr lang="sv-SE" sz="5940" dirty="0">
                  <a:solidFill>
                    <a:srgbClr val="00338D"/>
                  </a:solidFill>
                  <a:latin typeface="KPMG Extralight"/>
                </a:rPr>
                <a:t>KICC </a:t>
              </a:r>
              <a:r>
                <a:rPr lang="sv-SE" sz="5940" dirty="0" smtClean="0">
                  <a:solidFill>
                    <a:srgbClr val="00338D"/>
                  </a:solidFill>
                  <a:latin typeface="KPMG Extralight"/>
                </a:rPr>
                <a:t>2017</a:t>
              </a:r>
              <a:endParaRPr lang="en-GB" sz="5940" dirty="0" err="1">
                <a:solidFill>
                  <a:srgbClr val="00338D"/>
                </a:solidFill>
                <a:latin typeface="KPMG Extralight"/>
              </a:endParaRPr>
            </a:p>
          </p:txBody>
        </p:sp>
        <p:sp>
          <p:nvSpPr>
            <p:cNvPr id="57" name="Rounded Rectangle 56"/>
            <p:cNvSpPr/>
            <p:nvPr/>
          </p:nvSpPr>
          <p:spPr>
            <a:xfrm>
              <a:off x="4809669" y="3451757"/>
              <a:ext cx="2572662" cy="6164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5053" tIns="45053" rIns="45053" bIns="45053" rtlCol="0" anchor="ctr"/>
            <a:lstStyle/>
            <a:p>
              <a:pPr algn="ctr" defTabSz="754380"/>
              <a:r>
                <a:rPr lang="sv-SE" sz="1980" b="1" dirty="0" smtClean="0">
                  <a:solidFill>
                    <a:prstClr val="white"/>
                  </a:solidFill>
                  <a:latin typeface="Univers for KPMG" panose="020B0603020202020204" pitchFamily="34" charset="0"/>
                </a:rPr>
                <a:t>Bewerben</a:t>
              </a:r>
              <a:endParaRPr lang="en-GB" sz="1980" b="1" dirty="0" err="1">
                <a:solidFill>
                  <a:prstClr val="white"/>
                </a:solidFill>
                <a:latin typeface="Univers for KPMG" panose="020B0603020202020204" pitchFamily="34" charset="0"/>
              </a:endParaRPr>
            </a:p>
          </p:txBody>
        </p:sp>
      </p:grpSp>
      <p:sp>
        <p:nvSpPr>
          <p:cNvPr id="64" name="Freeform 5"/>
          <p:cNvSpPr>
            <a:spLocks/>
          </p:cNvSpPr>
          <p:nvPr/>
        </p:nvSpPr>
        <p:spPr bwMode="auto">
          <a:xfrm>
            <a:off x="7419173" y="3932636"/>
            <a:ext cx="264557" cy="492443"/>
          </a:xfrm>
          <a:custGeom>
            <a:avLst/>
            <a:gdLst>
              <a:gd name="T0" fmla="*/ 112 w 112"/>
              <a:gd name="T1" fmla="*/ 133 h 210"/>
              <a:gd name="T2" fmla="*/ 0 w 112"/>
              <a:gd name="T3" fmla="*/ 0 h 210"/>
              <a:gd name="T4" fmla="*/ 0 w 112"/>
              <a:gd name="T5" fmla="*/ 174 h 210"/>
              <a:gd name="T6" fmla="*/ 39 w 112"/>
              <a:gd name="T7" fmla="*/ 135 h 210"/>
              <a:gd name="T8" fmla="*/ 66 w 112"/>
              <a:gd name="T9" fmla="*/ 210 h 210"/>
              <a:gd name="T10" fmla="*/ 87 w 112"/>
              <a:gd name="T11" fmla="*/ 202 h 210"/>
              <a:gd name="T12" fmla="*/ 57 w 112"/>
              <a:gd name="T13" fmla="*/ 128 h 210"/>
              <a:gd name="T14" fmla="*/ 112 w 112"/>
              <a:gd name="T15" fmla="*/ 13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210">
                <a:moveTo>
                  <a:pt x="112" y="133"/>
                </a:moveTo>
                <a:cubicBezTo>
                  <a:pt x="0" y="0"/>
                  <a:pt x="0" y="0"/>
                  <a:pt x="0" y="0"/>
                </a:cubicBezTo>
                <a:cubicBezTo>
                  <a:pt x="0" y="174"/>
                  <a:pt x="0" y="174"/>
                  <a:pt x="0" y="174"/>
                </a:cubicBezTo>
                <a:cubicBezTo>
                  <a:pt x="39" y="135"/>
                  <a:pt x="39" y="135"/>
                  <a:pt x="39" y="135"/>
                </a:cubicBezTo>
                <a:cubicBezTo>
                  <a:pt x="39" y="135"/>
                  <a:pt x="66" y="210"/>
                  <a:pt x="66" y="210"/>
                </a:cubicBezTo>
                <a:cubicBezTo>
                  <a:pt x="66" y="210"/>
                  <a:pt x="87" y="203"/>
                  <a:pt x="87" y="202"/>
                </a:cubicBezTo>
                <a:cubicBezTo>
                  <a:pt x="86" y="202"/>
                  <a:pt x="57" y="128"/>
                  <a:pt x="57" y="128"/>
                </a:cubicBezTo>
                <a:lnTo>
                  <a:pt x="112" y="133"/>
                </a:lnTo>
                <a:close/>
              </a:path>
            </a:pathLst>
          </a:custGeom>
          <a:solidFill>
            <a:schemeClr val="bg1"/>
          </a:solidFill>
          <a:ln>
            <a:noFill/>
          </a:ln>
          <a:effectLst>
            <a:outerShdw blurRad="419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053" tIns="207900" rIns="45053" bIns="45053" numCol="1" spcCol="0" rtlCol="0" fromWordArt="0" anchor="t" anchorCtr="0" forceAA="0" compatLnSpc="1">
            <a:prstTxWarp prst="textNoShape">
              <a:avLst/>
            </a:prstTxWarp>
            <a:noAutofit/>
          </a:bodyPr>
          <a:lstStyle/>
          <a:p>
            <a:pPr algn="ctr" defTabSz="754380"/>
            <a:endParaRPr lang="en-GB" sz="5940">
              <a:solidFill>
                <a:srgbClr val="00338D"/>
              </a:solidFill>
              <a:latin typeface="KPMG Extralight"/>
            </a:endParaRPr>
          </a:p>
        </p:txBody>
      </p:sp>
      <p:sp>
        <p:nvSpPr>
          <p:cNvPr id="74" name="Freeform 19"/>
          <p:cNvSpPr>
            <a:spLocks/>
          </p:cNvSpPr>
          <p:nvPr/>
        </p:nvSpPr>
        <p:spPr bwMode="auto">
          <a:xfrm>
            <a:off x="3625233" y="1468133"/>
            <a:ext cx="3095516" cy="3099533"/>
          </a:xfrm>
          <a:custGeom>
            <a:avLst/>
            <a:gdLst>
              <a:gd name="T0" fmla="*/ 14 w 873"/>
              <a:gd name="T1" fmla="*/ 0 h 873"/>
              <a:gd name="T2" fmla="*/ 0 w 873"/>
              <a:gd name="T3" fmla="*/ 14 h 873"/>
              <a:gd name="T4" fmla="*/ 0 w 873"/>
              <a:gd name="T5" fmla="*/ 873 h 873"/>
              <a:gd name="T6" fmla="*/ 873 w 873"/>
              <a:gd name="T7" fmla="*/ 0 h 873"/>
              <a:gd name="T8" fmla="*/ 14 w 873"/>
              <a:gd name="T9" fmla="*/ 0 h 873"/>
            </a:gdLst>
            <a:ahLst/>
            <a:cxnLst>
              <a:cxn ang="0">
                <a:pos x="T0" y="T1"/>
              </a:cxn>
              <a:cxn ang="0">
                <a:pos x="T2" y="T3"/>
              </a:cxn>
              <a:cxn ang="0">
                <a:pos x="T4" y="T5"/>
              </a:cxn>
              <a:cxn ang="0">
                <a:pos x="T6" y="T7"/>
              </a:cxn>
              <a:cxn ang="0">
                <a:pos x="T8" y="T9"/>
              </a:cxn>
            </a:cxnLst>
            <a:rect l="0" t="0" r="r" b="b"/>
            <a:pathLst>
              <a:path w="873" h="873">
                <a:moveTo>
                  <a:pt x="14" y="0"/>
                </a:moveTo>
                <a:cubicBezTo>
                  <a:pt x="6" y="0"/>
                  <a:pt x="0" y="6"/>
                  <a:pt x="0" y="14"/>
                </a:cubicBezTo>
                <a:cubicBezTo>
                  <a:pt x="0" y="873"/>
                  <a:pt x="0" y="873"/>
                  <a:pt x="0" y="873"/>
                </a:cubicBezTo>
                <a:cubicBezTo>
                  <a:pt x="873" y="0"/>
                  <a:pt x="873" y="0"/>
                  <a:pt x="873" y="0"/>
                </a:cubicBezTo>
                <a:lnTo>
                  <a:pt x="14" y="0"/>
                </a:lnTo>
                <a:close/>
              </a:path>
            </a:pathLst>
          </a:custGeom>
          <a:solidFill>
            <a:srgbClr val="FFFFFF">
              <a:alpha val="3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Tree>
    <p:extLst>
      <p:ext uri="{BB962C8B-B14F-4D97-AF65-F5344CB8AC3E}">
        <p14:creationId xmlns:p14="http://schemas.microsoft.com/office/powerpoint/2010/main" val="1548390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33000" fill="hold" nodeType="withEffect">
                                  <p:stCondLst>
                                    <p:cond delay="0"/>
                                  </p:stCondLst>
                                  <p:childTnLst>
                                    <p:animScale>
                                      <p:cBhvr>
                                        <p:cTn id="6" dur="1000" fill="hold"/>
                                        <p:tgtEl>
                                          <p:spTgt spid="17"/>
                                        </p:tgtEl>
                                      </p:cBhvr>
                                      <p:by x="400000" y="400000"/>
                                    </p:animScale>
                                  </p:childTnLst>
                                </p:cTn>
                              </p:par>
                              <p:par>
                                <p:cTn id="7" presetID="10" presetClass="exit" presetSubtype="0" fill="hold" nodeType="withEffect">
                                  <p:stCondLst>
                                    <p:cond delay="500"/>
                                  </p:stCondLst>
                                  <p:childTnLst>
                                    <p:animEffect transition="out" filter="fade">
                                      <p:cBhvr>
                                        <p:cTn id="8" dur="500"/>
                                        <p:tgtEl>
                                          <p:spTgt spid="17"/>
                                        </p:tgtEl>
                                      </p:cBhvr>
                                    </p:animEffect>
                                    <p:set>
                                      <p:cBhvr>
                                        <p:cTn id="9" dur="1" fill="hold">
                                          <p:stCondLst>
                                            <p:cond delay="499"/>
                                          </p:stCondLst>
                                        </p:cTn>
                                        <p:tgtEl>
                                          <p:spTgt spid="17"/>
                                        </p:tgtEl>
                                        <p:attrNameLst>
                                          <p:attrName>style.visibility</p:attrName>
                                        </p:attrNameLst>
                                      </p:cBhvr>
                                      <p:to>
                                        <p:strVal val="hidden"/>
                                      </p:to>
                                    </p:set>
                                  </p:childTnLst>
                                </p:cTn>
                              </p:par>
                              <p:par>
                                <p:cTn id="10" presetID="35" presetClass="path" presetSubtype="0" accel="45333" fill="hold" nodeType="withEffect">
                                  <p:stCondLst>
                                    <p:cond delay="250"/>
                                  </p:stCondLst>
                                  <p:childTnLst>
                                    <p:animMotion origin="layout" path="M -8.33333E-7 -4.07407E-6 L -0.13685 -4.07407E-6 " pathEditMode="relative" rAng="0" ptsTypes="AA">
                                      <p:cBhvr>
                                        <p:cTn id="11" dur="750" fill="hold"/>
                                        <p:tgtEl>
                                          <p:spTgt spid="17"/>
                                        </p:tgtEl>
                                        <p:attrNameLst>
                                          <p:attrName>ppt_x</p:attrName>
                                          <p:attrName>ppt_y</p:attrName>
                                        </p:attrNameLst>
                                      </p:cBhvr>
                                      <p:rCtr x="-6849" y="0"/>
                                    </p:animMotion>
                                  </p:childTnLst>
                                </p:cTn>
                              </p:par>
                              <p:par>
                                <p:cTn id="12" presetID="23" presetClass="entr" presetSubtype="272" fill="hold" nodeType="withEffect">
                                  <p:stCondLst>
                                    <p:cond delay="250"/>
                                  </p:stCondLst>
                                  <p:childTnLst>
                                    <p:set>
                                      <p:cBhvr>
                                        <p:cTn id="13" dur="1" fill="hold">
                                          <p:stCondLst>
                                            <p:cond delay="0"/>
                                          </p:stCondLst>
                                        </p:cTn>
                                        <p:tgtEl>
                                          <p:spTgt spid="66"/>
                                        </p:tgtEl>
                                        <p:attrNameLst>
                                          <p:attrName>style.visibility</p:attrName>
                                        </p:attrNameLst>
                                      </p:cBhvr>
                                      <p:to>
                                        <p:strVal val="visible"/>
                                      </p:to>
                                    </p:set>
                                    <p:anim calcmode="lin" valueType="num">
                                      <p:cBhvr>
                                        <p:cTn id="14" dur="750" fill="hold"/>
                                        <p:tgtEl>
                                          <p:spTgt spid="66"/>
                                        </p:tgtEl>
                                        <p:attrNameLst>
                                          <p:attrName>ppt_w</p:attrName>
                                        </p:attrNameLst>
                                      </p:cBhvr>
                                      <p:tavLst>
                                        <p:tav tm="0">
                                          <p:val>
                                            <p:strVal val="2/3*#ppt_w"/>
                                          </p:val>
                                        </p:tav>
                                        <p:tav tm="100000">
                                          <p:val>
                                            <p:strVal val="#ppt_w"/>
                                          </p:val>
                                        </p:tav>
                                      </p:tavLst>
                                    </p:anim>
                                    <p:anim calcmode="lin" valueType="num">
                                      <p:cBhvr>
                                        <p:cTn id="15" dur="750" fill="hold"/>
                                        <p:tgtEl>
                                          <p:spTgt spid="66"/>
                                        </p:tgtEl>
                                        <p:attrNameLst>
                                          <p:attrName>ppt_h</p:attrName>
                                        </p:attrNameLst>
                                      </p:cBhvr>
                                      <p:tavLst>
                                        <p:tav tm="0">
                                          <p:val>
                                            <p:strVal val="2/3*#ppt_h"/>
                                          </p:val>
                                        </p:tav>
                                        <p:tav tm="100000">
                                          <p:val>
                                            <p:strVal val="#ppt_h"/>
                                          </p:val>
                                        </p:tav>
                                      </p:tavLst>
                                    </p:anim>
                                  </p:childTnLst>
                                </p:cTn>
                              </p:par>
                              <p:par>
                                <p:cTn id="16" presetID="10" presetClass="entr" presetSubtype="0" fill="hold" nodeType="withEffect">
                                  <p:stCondLst>
                                    <p:cond delay="25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750"/>
                                        <p:tgtEl>
                                          <p:spTgt spid="66"/>
                                        </p:tgtEl>
                                      </p:cBhvr>
                                    </p:animEffect>
                                  </p:childTnLst>
                                </p:cTn>
                              </p:par>
                              <p:par>
                                <p:cTn id="19" presetID="35" presetClass="path" presetSubtype="0" decel="50000" fill="hold" nodeType="withEffect">
                                  <p:stCondLst>
                                    <p:cond delay="250"/>
                                  </p:stCondLst>
                                  <p:childTnLst>
                                    <p:animMotion origin="layout" path="M 0.17409 -3.33333E-6 L -1.04167E-6 -3.33333E-6 " pathEditMode="relative" rAng="0" ptsTypes="AA">
                                      <p:cBhvr>
                                        <p:cTn id="20" dur="1000" fill="hold"/>
                                        <p:tgtEl>
                                          <p:spTgt spid="66"/>
                                        </p:tgtEl>
                                        <p:attrNameLst>
                                          <p:attrName>ppt_x</p:attrName>
                                          <p:attrName>ppt_y</p:attrName>
                                        </p:attrNameLst>
                                      </p:cBhvr>
                                      <p:rCtr x="-8711" y="0"/>
                                    </p:animMotion>
                                  </p:childTnLst>
                                </p:cTn>
                              </p:par>
                              <p:par>
                                <p:cTn id="21" presetID="10" presetClass="entr" presetSubtype="0" fill="hold" grpId="0" nodeType="withEffect">
                                  <p:stCondLst>
                                    <p:cond delay="95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300"/>
                                        <p:tgtEl>
                                          <p:spTgt spid="55"/>
                                        </p:tgtEl>
                                      </p:cBhvr>
                                    </p:animEffect>
                                  </p:childTnLst>
                                </p:cTn>
                              </p:par>
                              <p:par>
                                <p:cTn id="24" presetID="10" presetClass="entr" presetSubtype="0" fill="hold" grpId="0" nodeType="withEffect">
                                  <p:stCondLst>
                                    <p:cond delay="95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250"/>
                                        <p:tgtEl>
                                          <p:spTgt spid="74"/>
                                        </p:tgtEl>
                                      </p:cBhvr>
                                    </p:animEffect>
                                  </p:childTnLst>
                                </p:cTn>
                              </p:par>
                            </p:childTnLst>
                          </p:cTn>
                        </p:par>
                        <p:par>
                          <p:cTn id="27" fill="hold">
                            <p:stCondLst>
                              <p:cond delay="1250"/>
                            </p:stCondLst>
                            <p:childTnLst>
                              <p:par>
                                <p:cTn id="28" presetID="55" presetClass="entr" presetSubtype="0" fill="hold" nodeType="afterEffect">
                                  <p:stCondLst>
                                    <p:cond delay="0"/>
                                  </p:stCondLst>
                                  <p:childTnLst>
                                    <p:set>
                                      <p:cBhvr>
                                        <p:cTn id="29" dur="1" fill="hold">
                                          <p:stCondLst>
                                            <p:cond delay="0"/>
                                          </p:stCondLst>
                                        </p:cTn>
                                        <p:tgtEl>
                                          <p:spTgt spid="58"/>
                                        </p:tgtEl>
                                        <p:attrNameLst>
                                          <p:attrName>style.visibility</p:attrName>
                                        </p:attrNameLst>
                                      </p:cBhvr>
                                      <p:to>
                                        <p:strVal val="visible"/>
                                      </p:to>
                                    </p:set>
                                    <p:anim calcmode="lin" valueType="num">
                                      <p:cBhvr>
                                        <p:cTn id="30" dur="250" fill="hold"/>
                                        <p:tgtEl>
                                          <p:spTgt spid="58"/>
                                        </p:tgtEl>
                                        <p:attrNameLst>
                                          <p:attrName>ppt_w</p:attrName>
                                        </p:attrNameLst>
                                      </p:cBhvr>
                                      <p:tavLst>
                                        <p:tav tm="0">
                                          <p:val>
                                            <p:strVal val="#ppt_w*0.70"/>
                                          </p:val>
                                        </p:tav>
                                        <p:tav tm="100000">
                                          <p:val>
                                            <p:strVal val="#ppt_w"/>
                                          </p:val>
                                        </p:tav>
                                      </p:tavLst>
                                    </p:anim>
                                    <p:anim calcmode="lin" valueType="num">
                                      <p:cBhvr>
                                        <p:cTn id="31" dur="250" fill="hold"/>
                                        <p:tgtEl>
                                          <p:spTgt spid="58"/>
                                        </p:tgtEl>
                                        <p:attrNameLst>
                                          <p:attrName>ppt_h</p:attrName>
                                        </p:attrNameLst>
                                      </p:cBhvr>
                                      <p:tavLst>
                                        <p:tav tm="0">
                                          <p:val>
                                            <p:strVal val="#ppt_h"/>
                                          </p:val>
                                        </p:tav>
                                        <p:tav tm="100000">
                                          <p:val>
                                            <p:strVal val="#ppt_h"/>
                                          </p:val>
                                        </p:tav>
                                      </p:tavLst>
                                    </p:anim>
                                    <p:animEffect transition="in" filter="fade">
                                      <p:cBhvr>
                                        <p:cTn id="32" dur="250"/>
                                        <p:tgtEl>
                                          <p:spTgt spid="58"/>
                                        </p:tgtEl>
                                      </p:cBhvr>
                                    </p:animEffect>
                                  </p:childTnLst>
                                </p:cTn>
                              </p:par>
                              <p:par>
                                <p:cTn id="33" presetID="10" presetClass="entr" presetSubtype="0" fill="hold" grpId="0" nodeType="withEffect">
                                  <p:stCondLst>
                                    <p:cond delay="125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500"/>
                                        <p:tgtEl>
                                          <p:spTgt spid="64"/>
                                        </p:tgtEl>
                                      </p:cBhvr>
                                    </p:animEffect>
                                  </p:childTnLst>
                                </p:cTn>
                              </p:par>
                              <p:par>
                                <p:cTn id="36" presetID="42" presetClass="path" presetSubtype="0" decel="41000" fill="hold" grpId="1" nodeType="withEffect">
                                  <p:stCondLst>
                                    <p:cond delay="1250"/>
                                  </p:stCondLst>
                                  <p:childTnLst>
                                    <p:animMotion origin="layout" path="M 0 0 L 0 0.25 E" pathEditMode="relative" ptsTypes="">
                                      <p:cBhvr>
                                        <p:cTn id="37" dur="750" spd="-100000" fill="hold"/>
                                        <p:tgtEl>
                                          <p:spTgt spid="64"/>
                                        </p:tgtEl>
                                        <p:attrNameLst>
                                          <p:attrName>ppt_x</p:attrName>
                                          <p:attrName>ppt_y</p:attrName>
                                        </p:attrNameLst>
                                      </p:cBhvr>
                                    </p:animMotion>
                                  </p:childTnLst>
                                </p:cTn>
                              </p:par>
                            </p:childTnLst>
                          </p:cTn>
                        </p:par>
                        <p:par>
                          <p:cTn id="38" fill="hold">
                            <p:stCondLst>
                              <p:cond delay="3250"/>
                            </p:stCondLst>
                            <p:childTnLst>
                              <p:par>
                                <p:cTn id="39" presetID="6" presetClass="emph" presetSubtype="0" autoRev="1" fill="hold" nodeType="afterEffect">
                                  <p:stCondLst>
                                    <p:cond delay="0"/>
                                  </p:stCondLst>
                                  <p:childTnLst>
                                    <p:animScale>
                                      <p:cBhvr>
                                        <p:cTn id="40" dur="200" fill="hold"/>
                                        <p:tgtEl>
                                          <p:spTgt spid="58"/>
                                        </p:tgtEl>
                                      </p:cBhvr>
                                      <p:by x="87000" y="87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64" grpId="0" animBg="1"/>
      <p:bldP spid="64" grpId="1" animBg="1"/>
      <p:bldP spid="7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nvPr>
        </p:nvGraphicFramePr>
        <p:xfrm>
          <a:off x="77789" y="1589"/>
          <a:ext cx="1587" cy="1587"/>
        </p:xfrm>
        <a:graphic>
          <a:graphicData uri="http://schemas.openxmlformats.org/presentationml/2006/ole">
            <mc:AlternateContent xmlns:mc="http://schemas.openxmlformats.org/markup-compatibility/2006">
              <mc:Choice xmlns:v="urn:schemas-microsoft-com:vml" Requires="v">
                <p:oleObj spid="_x0000_s102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77789" y="1589"/>
                        <a:ext cx="1587" cy="1587"/>
                      </a:xfrm>
                      <a:prstGeom prst="rect">
                        <a:avLst/>
                      </a:prstGeom>
                    </p:spPr>
                  </p:pic>
                </p:oleObj>
              </mc:Fallback>
            </mc:AlternateContent>
          </a:graphicData>
        </a:graphic>
      </p:graphicFrame>
      <p:grpSp>
        <p:nvGrpSpPr>
          <p:cNvPr id="14" name="Gruppieren 2"/>
          <p:cNvGrpSpPr/>
          <p:nvPr/>
        </p:nvGrpSpPr>
        <p:grpSpPr>
          <a:xfrm>
            <a:off x="906462" y="1440938"/>
            <a:ext cx="8250139" cy="4710480"/>
            <a:chOff x="184150" y="1125538"/>
            <a:chExt cx="8718550" cy="4751387"/>
          </a:xfrm>
        </p:grpSpPr>
        <p:sp>
          <p:nvSpPr>
            <p:cNvPr id="15" name="AutoShape 3"/>
            <p:cNvSpPr>
              <a:spLocks noChangeArrowheads="1"/>
            </p:cNvSpPr>
            <p:nvPr/>
          </p:nvSpPr>
          <p:spPr bwMode="gray">
            <a:xfrm>
              <a:off x="184150" y="1125538"/>
              <a:ext cx="1224735" cy="1474787"/>
            </a:xfrm>
            <a:prstGeom prst="rect">
              <a:avLst/>
            </a:prstGeom>
            <a:solidFill>
              <a:srgbClr val="483698"/>
            </a:solidFill>
            <a:ln w="12700" algn="ctr">
              <a:solidFill>
                <a:srgbClr val="483698"/>
              </a:solidFill>
              <a:miter lim="800000"/>
              <a:headEnd/>
              <a:tailEnd/>
            </a:ln>
          </p:spPr>
          <p:txBody>
            <a:bodyPr lIns="54000" tIns="54000" rIns="54000" bIns="54000" anchor="ctr"/>
            <a:lstStyle/>
            <a:p>
              <a:pPr algn="ctr"/>
              <a:r>
                <a:rPr lang="de-DE" sz="1000" b="1" dirty="0" smtClean="0">
                  <a:solidFill>
                    <a:schemeClr val="bg1"/>
                  </a:solidFill>
                  <a:latin typeface="Arial" panose="020B0604020202020204" pitchFamily="34" charset="0"/>
                  <a:cs typeface="Arial" panose="020B0604020202020204" pitchFamily="34" charset="0"/>
                </a:rPr>
                <a:t>Regionale Qualifikation</a:t>
              </a:r>
            </a:p>
          </p:txBody>
        </p:sp>
        <p:sp>
          <p:nvSpPr>
            <p:cNvPr id="16" name="Freeform 5"/>
            <p:cNvSpPr>
              <a:spLocks/>
            </p:cNvSpPr>
            <p:nvPr/>
          </p:nvSpPr>
          <p:spPr bwMode="gray">
            <a:xfrm>
              <a:off x="1393894" y="1125538"/>
              <a:ext cx="7508806" cy="1474787"/>
            </a:xfrm>
            <a:prstGeom prst="rect">
              <a:avLst/>
            </a:prstGeom>
            <a:noFill/>
            <a:ln w="12700" cmpd="sng">
              <a:solidFill>
                <a:schemeClr val="accent2"/>
              </a:solidFill>
              <a:prstDash val="solid"/>
              <a:round/>
              <a:headEnd/>
              <a:tailEnd/>
            </a:ln>
          </p:spPr>
          <p:txBody>
            <a:bodyPr lIns="180000" tIns="54000" rIns="54000" bIns="54000"/>
            <a:lstStyle/>
            <a:p>
              <a:pPr marL="457200" lvl="3" defTabSz="914400">
                <a:defRPr/>
              </a:pPr>
              <a:r>
                <a:rPr lang="de-DE" sz="1100" b="1" dirty="0" smtClean="0">
                  <a:solidFill>
                    <a:srgbClr val="00338D"/>
                  </a:solidFill>
                  <a:latin typeface="Arial" panose="020B0604020202020204" pitchFamily="34" charset="0"/>
                  <a:cs typeface="Arial" panose="020B0604020202020204" pitchFamily="34" charset="0"/>
                </a:rPr>
                <a:t>3. Dezember 2016</a:t>
              </a:r>
            </a:p>
            <a:p>
              <a:pPr marL="457200" lvl="3" defTabSz="914400">
                <a:defRPr/>
              </a:pPr>
              <a:endParaRPr lang="de-DE" sz="1100" b="1" dirty="0" smtClean="0">
                <a:solidFill>
                  <a:srgbClr val="00338D"/>
                </a:solidFill>
                <a:latin typeface="Arial" panose="020B0604020202020204" pitchFamily="34" charset="0"/>
                <a:cs typeface="Arial" panose="020B0604020202020204" pitchFamily="34" charset="0"/>
              </a:endParaRPr>
            </a:p>
            <a:p>
              <a:pPr marL="457200" lvl="3" defTabSz="914400">
                <a:defRPr/>
              </a:pPr>
              <a:r>
                <a:rPr lang="de-DE" sz="1100" b="1" dirty="0" smtClean="0">
                  <a:solidFill>
                    <a:srgbClr val="00338D"/>
                  </a:solidFill>
                  <a:latin typeface="Arial" panose="020B0604020202020204" pitchFamily="34" charset="0"/>
                  <a:cs typeface="Arial" panose="020B0604020202020204" pitchFamily="34" charset="0"/>
                </a:rPr>
                <a:t>KPMG </a:t>
              </a:r>
              <a:r>
                <a:rPr lang="de-DE" sz="1100" b="1" dirty="0">
                  <a:solidFill>
                    <a:srgbClr val="00338D"/>
                  </a:solidFill>
                  <a:latin typeface="Arial" panose="020B0604020202020204" pitchFamily="34" charset="0"/>
                  <a:cs typeface="Arial" panose="020B0604020202020204" pitchFamily="34" charset="0"/>
                </a:rPr>
                <a:t>Niederlassungen in Berlin, Hamburg, Düsseldorf, Frankfurt, Stuttgart und </a:t>
              </a:r>
              <a:r>
                <a:rPr lang="de-DE" sz="1100" b="1" dirty="0" smtClean="0">
                  <a:solidFill>
                    <a:srgbClr val="00338D"/>
                  </a:solidFill>
                  <a:latin typeface="Arial" panose="020B0604020202020204" pitchFamily="34" charset="0"/>
                  <a:cs typeface="Arial" panose="020B0604020202020204" pitchFamily="34" charset="0"/>
                </a:rPr>
                <a:t>München</a:t>
              </a:r>
            </a:p>
            <a:p>
              <a:pPr marL="457200" lvl="3" defTabSz="914400">
                <a:defRPr/>
              </a:pPr>
              <a:endParaRPr lang="de-DE" sz="1050" dirty="0">
                <a:solidFill>
                  <a:srgbClr val="00338D"/>
                </a:solidFill>
                <a:latin typeface="Arial" panose="020B0604020202020204" pitchFamily="34" charset="0"/>
                <a:cs typeface="Arial" panose="020B0604020202020204" pitchFamily="34" charset="0"/>
              </a:endParaRPr>
            </a:p>
            <a:p>
              <a:pPr marL="216000" lvl="2" indent="-216000" defTabSz="914400">
                <a:spcAft>
                  <a:spcPts val="600"/>
                </a:spcAft>
                <a:buFont typeface="Arial" panose="020B0604020202020204" pitchFamily="34" charset="0"/>
                <a:buChar char="—"/>
                <a:defRPr/>
              </a:pPr>
              <a:r>
                <a:rPr lang="de-DE" sz="1050" dirty="0" smtClean="0">
                  <a:solidFill>
                    <a:srgbClr val="00338D"/>
                  </a:solidFill>
                  <a:latin typeface="Arial" panose="020B0604020202020204" pitchFamily="34" charset="0"/>
                  <a:cs typeface="Arial" panose="020B0604020202020204" pitchFamily="34" charset="0"/>
                </a:rPr>
                <a:t>Teams </a:t>
              </a:r>
              <a:r>
                <a:rPr lang="de-DE" sz="1050" dirty="0">
                  <a:solidFill>
                    <a:srgbClr val="00338D"/>
                  </a:solidFill>
                  <a:latin typeface="Arial" panose="020B0604020202020204" pitchFamily="34" charset="0"/>
                  <a:cs typeface="Arial" panose="020B0604020202020204" pitchFamily="34" charset="0"/>
                </a:rPr>
                <a:t>werden regional verteilt</a:t>
              </a:r>
            </a:p>
            <a:p>
              <a:pPr marL="216000" lvl="2" indent="-216000" defTabSz="914400">
                <a:spcAft>
                  <a:spcPts val="600"/>
                </a:spcAft>
                <a:buFont typeface="Arial" panose="020B0604020202020204" pitchFamily="34" charset="0"/>
                <a:buChar char="—"/>
                <a:defRPr/>
              </a:pPr>
              <a:r>
                <a:rPr lang="de-DE" sz="1050" dirty="0">
                  <a:solidFill>
                    <a:srgbClr val="00338D"/>
                  </a:solidFill>
                  <a:latin typeface="Arial" panose="020B0604020202020204" pitchFamily="34" charset="0"/>
                  <a:cs typeface="Arial" panose="020B0604020202020204" pitchFamily="34" charset="0"/>
                </a:rPr>
                <a:t>Bearbeitung </a:t>
              </a:r>
              <a:r>
                <a:rPr lang="de-DE" sz="1050" dirty="0" smtClean="0">
                  <a:solidFill>
                    <a:srgbClr val="00338D"/>
                  </a:solidFill>
                  <a:latin typeface="Arial" panose="020B0604020202020204" pitchFamily="34" charset="0"/>
                  <a:cs typeface="Arial" panose="020B0604020202020204" pitchFamily="34" charset="0"/>
                </a:rPr>
                <a:t>einer </a:t>
              </a:r>
              <a:r>
                <a:rPr lang="de-DE" sz="1050" dirty="0">
                  <a:solidFill>
                    <a:srgbClr val="00338D"/>
                  </a:solidFill>
                  <a:latin typeface="Arial" panose="020B0604020202020204" pitchFamily="34" charset="0"/>
                  <a:cs typeface="Arial" panose="020B0604020202020204" pitchFamily="34" charset="0"/>
                </a:rPr>
                <a:t>Fallstudie, deren Ergebnisse in einer Präsentation auf Englisch vorgestellt werden müssen</a:t>
              </a:r>
            </a:p>
            <a:p>
              <a:pPr marL="216000" lvl="2" indent="-216000" defTabSz="914400">
                <a:spcAft>
                  <a:spcPts val="600"/>
                </a:spcAft>
                <a:buFont typeface="Arial" panose="020B0604020202020204" pitchFamily="34" charset="0"/>
                <a:buChar char="—"/>
                <a:defRPr/>
              </a:pPr>
              <a:r>
                <a:rPr lang="de-DE" sz="1050" dirty="0" smtClean="0">
                  <a:solidFill>
                    <a:srgbClr val="00338D"/>
                  </a:solidFill>
                  <a:latin typeface="Arial" panose="020B0604020202020204" pitchFamily="34" charset="0"/>
                  <a:cs typeface="Arial" panose="020B0604020202020204" pitchFamily="34" charset="0"/>
                </a:rPr>
                <a:t>aufgezeigte </a:t>
              </a:r>
              <a:r>
                <a:rPr lang="de-DE" sz="1050" dirty="0">
                  <a:solidFill>
                    <a:srgbClr val="00338D"/>
                  </a:solidFill>
                  <a:latin typeface="Arial" panose="020B0604020202020204" pitchFamily="34" charset="0"/>
                  <a:cs typeface="Arial" panose="020B0604020202020204" pitchFamily="34" charset="0"/>
                </a:rPr>
                <a:t>Lösungsansätze entscheiden über den Einzug in das nationale Finale</a:t>
              </a:r>
            </a:p>
          </p:txBody>
        </p:sp>
        <p:sp>
          <p:nvSpPr>
            <p:cNvPr id="17" name="AutoShape 7"/>
            <p:cNvSpPr>
              <a:spLocks noChangeArrowheads="1"/>
            </p:cNvSpPr>
            <p:nvPr/>
          </p:nvSpPr>
          <p:spPr bwMode="gray">
            <a:xfrm>
              <a:off x="184150" y="2763838"/>
              <a:ext cx="1224735" cy="1474787"/>
            </a:xfrm>
            <a:prstGeom prst="rect">
              <a:avLst/>
            </a:prstGeom>
            <a:solidFill>
              <a:srgbClr val="470A68"/>
            </a:solidFill>
            <a:ln w="12700" algn="ctr">
              <a:solidFill>
                <a:srgbClr val="470A68"/>
              </a:solidFill>
              <a:miter lim="800000"/>
              <a:headEnd/>
              <a:tailEnd/>
            </a:ln>
          </p:spPr>
          <p:txBody>
            <a:bodyPr lIns="54000" tIns="54000" rIns="54000" bIns="54000" anchor="ctr"/>
            <a:lstStyle/>
            <a:p>
              <a:pPr algn="ctr"/>
              <a:r>
                <a:rPr lang="de-DE" sz="1000" b="1" dirty="0" smtClean="0">
                  <a:solidFill>
                    <a:schemeClr val="bg1"/>
                  </a:solidFill>
                  <a:latin typeface="Arial" panose="020B0604020202020204" pitchFamily="34" charset="0"/>
                  <a:cs typeface="Arial" panose="020B0604020202020204" pitchFamily="34" charset="0"/>
                </a:rPr>
                <a:t>Nationales Finale</a:t>
              </a:r>
              <a:endParaRPr lang="de-DE" sz="1000" b="1" dirty="0">
                <a:solidFill>
                  <a:schemeClr val="bg1"/>
                </a:solidFill>
                <a:latin typeface="Arial" panose="020B0604020202020204" pitchFamily="34" charset="0"/>
                <a:cs typeface="Arial" panose="020B0604020202020204" pitchFamily="34" charset="0"/>
              </a:endParaRPr>
            </a:p>
          </p:txBody>
        </p:sp>
        <p:sp>
          <p:nvSpPr>
            <p:cNvPr id="18" name="Freeform 9"/>
            <p:cNvSpPr>
              <a:spLocks/>
            </p:cNvSpPr>
            <p:nvPr/>
          </p:nvSpPr>
          <p:spPr bwMode="gray">
            <a:xfrm>
              <a:off x="1393894" y="2763838"/>
              <a:ext cx="7508806" cy="1474787"/>
            </a:xfrm>
            <a:prstGeom prst="rect">
              <a:avLst/>
            </a:prstGeom>
            <a:noFill/>
            <a:ln w="12700" cmpd="sng">
              <a:solidFill>
                <a:schemeClr val="accent3"/>
              </a:solidFill>
              <a:prstDash val="solid"/>
              <a:round/>
              <a:headEnd/>
              <a:tailEnd/>
            </a:ln>
          </p:spPr>
          <p:txBody>
            <a:bodyPr lIns="180000" tIns="54000" rIns="54000" bIns="54000"/>
            <a:lstStyle/>
            <a:p>
              <a:pPr marL="457200" lvl="3" defTabSz="914400">
                <a:defRPr/>
              </a:pPr>
              <a:r>
                <a:rPr lang="de-DE" sz="1100" b="1" dirty="0">
                  <a:solidFill>
                    <a:srgbClr val="00338D"/>
                  </a:solidFill>
                  <a:latin typeface="Arial" panose="020B0604020202020204" pitchFamily="34" charset="0"/>
                  <a:cs typeface="Arial" panose="020B0604020202020204" pitchFamily="34" charset="0"/>
                </a:rPr>
                <a:t>23. </a:t>
              </a:r>
              <a:r>
                <a:rPr lang="de-DE" sz="1100" b="1" dirty="0" smtClean="0">
                  <a:solidFill>
                    <a:srgbClr val="00338D"/>
                  </a:solidFill>
                  <a:latin typeface="Arial" panose="020B0604020202020204" pitchFamily="34" charset="0"/>
                  <a:cs typeface="Arial" panose="020B0604020202020204" pitchFamily="34" charset="0"/>
                </a:rPr>
                <a:t>- </a:t>
              </a:r>
              <a:r>
                <a:rPr lang="de-DE" sz="1100" b="1" dirty="0">
                  <a:solidFill>
                    <a:srgbClr val="00338D"/>
                  </a:solidFill>
                  <a:latin typeface="Arial" panose="020B0604020202020204" pitchFamily="34" charset="0"/>
                  <a:cs typeface="Arial" panose="020B0604020202020204" pitchFamily="34" charset="0"/>
                </a:rPr>
                <a:t>26. Februar </a:t>
              </a:r>
              <a:r>
                <a:rPr lang="de-DE" sz="1100" b="1" dirty="0" smtClean="0">
                  <a:solidFill>
                    <a:srgbClr val="00338D"/>
                  </a:solidFill>
                  <a:latin typeface="Arial" panose="020B0604020202020204" pitchFamily="34" charset="0"/>
                  <a:cs typeface="Arial" panose="020B0604020202020204" pitchFamily="34" charset="0"/>
                </a:rPr>
                <a:t>2017</a:t>
              </a:r>
            </a:p>
            <a:p>
              <a:pPr marL="457200" lvl="3" defTabSz="914400">
                <a:defRPr/>
              </a:pPr>
              <a:endParaRPr lang="de-DE" sz="1100" b="1" dirty="0" smtClean="0">
                <a:solidFill>
                  <a:srgbClr val="00338D"/>
                </a:solidFill>
                <a:latin typeface="Arial" panose="020B0604020202020204" pitchFamily="34" charset="0"/>
                <a:cs typeface="Arial" panose="020B0604020202020204" pitchFamily="34" charset="0"/>
              </a:endParaRPr>
            </a:p>
            <a:p>
              <a:pPr marL="457200" lvl="3" defTabSz="914400">
                <a:defRPr/>
              </a:pPr>
              <a:r>
                <a:rPr lang="de-DE" sz="1100" b="1" dirty="0" smtClean="0">
                  <a:solidFill>
                    <a:srgbClr val="00338D"/>
                  </a:solidFill>
                  <a:latin typeface="Arial" panose="020B0604020202020204" pitchFamily="34" charset="0"/>
                  <a:cs typeface="Arial" panose="020B0604020202020204" pitchFamily="34" charset="0"/>
                </a:rPr>
                <a:t>National Office von KPMG in Berlin</a:t>
              </a:r>
              <a:endParaRPr lang="de-DE" sz="1100" b="1" dirty="0">
                <a:solidFill>
                  <a:srgbClr val="00338D"/>
                </a:solidFill>
                <a:latin typeface="Arial" panose="020B0604020202020204" pitchFamily="34" charset="0"/>
                <a:cs typeface="Arial" panose="020B0604020202020204" pitchFamily="34" charset="0"/>
              </a:endParaRPr>
            </a:p>
            <a:p>
              <a:pPr marL="0" lvl="2" defTabSz="914400">
                <a:spcAft>
                  <a:spcPts val="600"/>
                </a:spcAft>
                <a:defRPr/>
              </a:pPr>
              <a:endParaRPr lang="de-DE" sz="1000" dirty="0" smtClean="0">
                <a:solidFill>
                  <a:srgbClr val="00338D"/>
                </a:solidFill>
                <a:latin typeface="Arial" panose="020B0604020202020204" pitchFamily="34" charset="0"/>
                <a:cs typeface="Arial" panose="020B0604020202020204" pitchFamily="34" charset="0"/>
              </a:endParaRPr>
            </a:p>
            <a:p>
              <a:pPr marL="216000" lvl="2" indent="-216000" defTabSz="914400">
                <a:spcAft>
                  <a:spcPts val="600"/>
                </a:spcAft>
                <a:buFont typeface="Arial" panose="020B0604020202020204" pitchFamily="34" charset="0"/>
                <a:buChar char="—"/>
                <a:defRPr/>
              </a:pPr>
              <a:r>
                <a:rPr lang="de-DE" sz="1000" dirty="0" smtClean="0">
                  <a:solidFill>
                    <a:srgbClr val="00338D"/>
                  </a:solidFill>
                  <a:latin typeface="Arial" panose="020B0604020202020204" pitchFamily="34" charset="0"/>
                  <a:cs typeface="Arial" panose="020B0604020202020204" pitchFamily="34" charset="0"/>
                </a:rPr>
                <a:t>Siegerteams </a:t>
              </a:r>
              <a:r>
                <a:rPr lang="de-DE" sz="1000" dirty="0">
                  <a:solidFill>
                    <a:srgbClr val="00338D"/>
                  </a:solidFill>
                  <a:latin typeface="Arial" panose="020B0604020202020204" pitchFamily="34" charset="0"/>
                  <a:cs typeface="Arial" panose="020B0604020202020204" pitchFamily="34" charset="0"/>
                </a:rPr>
                <a:t>der regionalen Qualifikationsrunden werden nach Berlin eingeladen</a:t>
              </a:r>
            </a:p>
            <a:p>
              <a:pPr marL="216000" lvl="2" indent="-216000" defTabSz="914400">
                <a:spcAft>
                  <a:spcPts val="600"/>
                </a:spcAft>
                <a:buFont typeface="Arial" panose="020B0604020202020204" pitchFamily="34" charset="0"/>
                <a:buChar char="—"/>
                <a:defRPr/>
              </a:pPr>
              <a:r>
                <a:rPr lang="de-DE" sz="1000" dirty="0" smtClean="0">
                  <a:solidFill>
                    <a:srgbClr val="00338D"/>
                  </a:solidFill>
                  <a:latin typeface="Arial" panose="020B0604020202020204" pitchFamily="34" charset="0"/>
                  <a:cs typeface="Arial" panose="020B0604020202020204" pitchFamily="34" charset="0"/>
                </a:rPr>
                <a:t>Bearbeitung </a:t>
              </a:r>
              <a:r>
                <a:rPr lang="de-DE" sz="1000" dirty="0">
                  <a:solidFill>
                    <a:srgbClr val="00338D"/>
                  </a:solidFill>
                  <a:latin typeface="Arial" panose="020B0604020202020204" pitchFamily="34" charset="0"/>
                  <a:cs typeface="Arial" panose="020B0604020202020204" pitchFamily="34" charset="0"/>
                </a:rPr>
                <a:t>einer weiteren Fallstudie </a:t>
              </a:r>
              <a:r>
                <a:rPr lang="de-DE" sz="1000" dirty="0" smtClean="0">
                  <a:solidFill>
                    <a:srgbClr val="00338D"/>
                  </a:solidFill>
                  <a:latin typeface="Arial" panose="020B0604020202020204" pitchFamily="34" charset="0"/>
                  <a:cs typeface="Arial" panose="020B0604020202020204" pitchFamily="34" charset="0"/>
                </a:rPr>
                <a:t>sowie Präsentation der Ergebnisse in englischer Sprache</a:t>
              </a:r>
              <a:endParaRPr lang="de-DE" sz="1000" dirty="0">
                <a:solidFill>
                  <a:srgbClr val="00338D"/>
                </a:solidFill>
                <a:latin typeface="Arial" panose="020B0604020202020204" pitchFamily="34" charset="0"/>
                <a:cs typeface="Arial" panose="020B0604020202020204" pitchFamily="34" charset="0"/>
              </a:endParaRPr>
            </a:p>
            <a:p>
              <a:pPr marL="216000" lvl="2" indent="-216000" defTabSz="914400">
                <a:spcAft>
                  <a:spcPts val="600"/>
                </a:spcAft>
                <a:buFont typeface="Arial" panose="020B0604020202020204" pitchFamily="34" charset="0"/>
                <a:buChar char="—"/>
                <a:defRPr/>
              </a:pPr>
              <a:r>
                <a:rPr lang="de-DE" sz="1000" dirty="0" smtClean="0">
                  <a:solidFill>
                    <a:srgbClr val="00338D"/>
                  </a:solidFill>
                  <a:latin typeface="Arial" panose="020B0604020202020204" pitchFamily="34" charset="0"/>
                  <a:cs typeface="Arial" panose="020B0604020202020204" pitchFamily="34" charset="0"/>
                </a:rPr>
                <a:t>Gewinnerteam vertritt </a:t>
              </a:r>
              <a:r>
                <a:rPr lang="de-DE" sz="1000" dirty="0">
                  <a:solidFill>
                    <a:srgbClr val="00338D"/>
                  </a:solidFill>
                  <a:latin typeface="Arial" panose="020B0604020202020204" pitchFamily="34" charset="0"/>
                  <a:cs typeface="Arial" panose="020B0604020202020204" pitchFamily="34" charset="0"/>
                </a:rPr>
                <a:t>KPMG Deutschland beim internationalen Finale in </a:t>
              </a:r>
              <a:r>
                <a:rPr lang="de-DE" sz="1000" dirty="0" smtClean="0">
                  <a:solidFill>
                    <a:srgbClr val="00338D"/>
                  </a:solidFill>
                  <a:latin typeface="Arial" panose="020B0604020202020204" pitchFamily="34" charset="0"/>
                  <a:cs typeface="Arial" panose="020B0604020202020204" pitchFamily="34" charset="0"/>
                </a:rPr>
                <a:t>Lissabon</a:t>
              </a:r>
              <a:endParaRPr lang="de-DE" sz="1000" dirty="0">
                <a:solidFill>
                  <a:srgbClr val="00338D"/>
                </a:solidFill>
                <a:latin typeface="Arial" panose="020B0604020202020204" pitchFamily="34" charset="0"/>
                <a:cs typeface="Arial" panose="020B0604020202020204" pitchFamily="34" charset="0"/>
              </a:endParaRPr>
            </a:p>
          </p:txBody>
        </p:sp>
        <p:sp>
          <p:nvSpPr>
            <p:cNvPr id="19" name="AutoShape 11"/>
            <p:cNvSpPr>
              <a:spLocks noChangeArrowheads="1"/>
            </p:cNvSpPr>
            <p:nvPr/>
          </p:nvSpPr>
          <p:spPr bwMode="gray">
            <a:xfrm>
              <a:off x="184150" y="4402138"/>
              <a:ext cx="1224735" cy="1474787"/>
            </a:xfrm>
            <a:prstGeom prst="rect">
              <a:avLst/>
            </a:prstGeom>
            <a:solidFill>
              <a:srgbClr val="6D2077"/>
            </a:solidFill>
            <a:ln w="12700" algn="ctr">
              <a:solidFill>
                <a:srgbClr val="6D2077"/>
              </a:solidFill>
              <a:miter lim="800000"/>
              <a:headEnd/>
              <a:tailEnd/>
            </a:ln>
          </p:spPr>
          <p:txBody>
            <a:bodyPr lIns="54000" tIns="54000" rIns="54000" bIns="54000" anchor="ctr"/>
            <a:lstStyle/>
            <a:p>
              <a:pPr algn="ctr"/>
              <a:r>
                <a:rPr lang="de-DE" sz="1000" b="1" dirty="0" smtClean="0">
                  <a:solidFill>
                    <a:schemeClr val="bg1"/>
                  </a:solidFill>
                  <a:latin typeface="Arial" panose="020B0604020202020204" pitchFamily="34" charset="0"/>
                  <a:cs typeface="Arial" panose="020B0604020202020204" pitchFamily="34" charset="0"/>
                </a:rPr>
                <a:t>Internationales Finale</a:t>
              </a:r>
              <a:endParaRPr lang="de-DE" sz="1000" b="1" dirty="0">
                <a:solidFill>
                  <a:schemeClr val="bg1"/>
                </a:solidFill>
                <a:latin typeface="Arial" panose="020B0604020202020204" pitchFamily="34" charset="0"/>
                <a:cs typeface="Arial" panose="020B0604020202020204" pitchFamily="34" charset="0"/>
              </a:endParaRPr>
            </a:p>
          </p:txBody>
        </p:sp>
        <p:sp>
          <p:nvSpPr>
            <p:cNvPr id="20" name="Freeform 13"/>
            <p:cNvSpPr>
              <a:spLocks/>
            </p:cNvSpPr>
            <p:nvPr/>
          </p:nvSpPr>
          <p:spPr bwMode="gray">
            <a:xfrm>
              <a:off x="1393894" y="4402138"/>
              <a:ext cx="7508806" cy="1474787"/>
            </a:xfrm>
            <a:prstGeom prst="rect">
              <a:avLst/>
            </a:prstGeom>
            <a:noFill/>
            <a:ln w="12700" cmpd="sng">
              <a:solidFill>
                <a:schemeClr val="accent4"/>
              </a:solidFill>
              <a:prstDash val="solid"/>
              <a:round/>
              <a:headEnd/>
              <a:tailEnd/>
            </a:ln>
          </p:spPr>
          <p:txBody>
            <a:bodyPr lIns="180000" tIns="54000" rIns="54000" bIns="54000"/>
            <a:lstStyle/>
            <a:p>
              <a:pPr marL="457200" lvl="3" defTabSz="914400">
                <a:defRPr/>
              </a:pPr>
              <a:r>
                <a:rPr lang="de-DE" sz="1100" b="1" dirty="0" smtClean="0">
                  <a:solidFill>
                    <a:srgbClr val="00338D"/>
                  </a:solidFill>
                  <a:latin typeface="Arial" panose="020B0604020202020204" pitchFamily="34" charset="0"/>
                  <a:cs typeface="Arial" panose="020B0604020202020204" pitchFamily="34" charset="0"/>
                </a:rPr>
                <a:t>10. - 13. April</a:t>
              </a:r>
            </a:p>
            <a:p>
              <a:pPr marL="673200" lvl="3" indent="-216000" defTabSz="914400">
                <a:buFont typeface="Arial" panose="020B0604020202020204" pitchFamily="34" charset="0"/>
                <a:buChar char="—"/>
                <a:defRPr/>
              </a:pPr>
              <a:endParaRPr lang="de-DE" sz="1100" b="1" dirty="0" smtClean="0">
                <a:solidFill>
                  <a:srgbClr val="00338D"/>
                </a:solidFill>
                <a:latin typeface="Arial" panose="020B0604020202020204" pitchFamily="34" charset="0"/>
                <a:cs typeface="Arial" panose="020B0604020202020204" pitchFamily="34" charset="0"/>
              </a:endParaRPr>
            </a:p>
            <a:p>
              <a:pPr marL="457200" lvl="3" defTabSz="914400">
                <a:defRPr/>
              </a:pPr>
              <a:r>
                <a:rPr lang="de-DE" sz="1100" b="1" dirty="0" smtClean="0">
                  <a:solidFill>
                    <a:srgbClr val="00338D"/>
                  </a:solidFill>
                  <a:latin typeface="Arial" panose="020B0604020202020204" pitchFamily="34" charset="0"/>
                  <a:cs typeface="Arial" panose="020B0604020202020204" pitchFamily="34" charset="0"/>
                </a:rPr>
                <a:t>Lissabon</a:t>
              </a:r>
            </a:p>
            <a:p>
              <a:pPr marL="216000" lvl="2" indent="-216000" defTabSz="914400">
                <a:spcAft>
                  <a:spcPts val="600"/>
                </a:spcAft>
                <a:buFont typeface="Arial" panose="020B0604020202020204" pitchFamily="34" charset="0"/>
                <a:buChar char="—"/>
                <a:defRPr/>
              </a:pPr>
              <a:endParaRPr lang="de-DE" sz="1000" dirty="0">
                <a:solidFill>
                  <a:srgbClr val="00338D"/>
                </a:solidFill>
                <a:latin typeface="Arial" panose="020B0604020202020204" pitchFamily="34" charset="0"/>
                <a:cs typeface="Arial" panose="020B0604020202020204" pitchFamily="34" charset="0"/>
              </a:endParaRPr>
            </a:p>
            <a:p>
              <a:pPr marL="216000" lvl="2" indent="-216000" defTabSz="914400">
                <a:spcAft>
                  <a:spcPts val="600"/>
                </a:spcAft>
                <a:buFont typeface="Arial" panose="020B0604020202020204" pitchFamily="34" charset="0"/>
                <a:buChar char="—"/>
                <a:defRPr/>
              </a:pPr>
              <a:r>
                <a:rPr lang="de-DE" sz="1000" dirty="0" smtClean="0">
                  <a:solidFill>
                    <a:srgbClr val="00338D"/>
                  </a:solidFill>
                  <a:latin typeface="Arial" panose="020B0604020202020204" pitchFamily="34" charset="0"/>
                  <a:cs typeface="Arial" panose="020B0604020202020204" pitchFamily="34" charset="0"/>
                </a:rPr>
                <a:t>Siegerteam </a:t>
              </a:r>
              <a:r>
                <a:rPr lang="de-DE" sz="1000" dirty="0">
                  <a:solidFill>
                    <a:srgbClr val="00338D"/>
                  </a:solidFill>
                  <a:latin typeface="Arial" panose="020B0604020202020204" pitchFamily="34" charset="0"/>
                  <a:cs typeface="Arial" panose="020B0604020202020204" pitchFamily="34" charset="0"/>
                </a:rPr>
                <a:t>des nationalen Finales trifft auf die Teams der anderen </a:t>
              </a:r>
              <a:r>
                <a:rPr lang="de-DE" sz="1000" dirty="0" smtClean="0">
                  <a:solidFill>
                    <a:srgbClr val="00338D"/>
                  </a:solidFill>
                  <a:latin typeface="Arial" panose="020B0604020202020204" pitchFamily="34" charset="0"/>
                  <a:cs typeface="Arial" panose="020B0604020202020204" pitchFamily="34" charset="0"/>
                </a:rPr>
                <a:t>über 20 KPMG Landesgesellschaften</a:t>
              </a:r>
            </a:p>
            <a:p>
              <a:pPr marL="216000" lvl="2" indent="-216000" defTabSz="914400">
                <a:spcAft>
                  <a:spcPts val="600"/>
                </a:spcAft>
                <a:buFont typeface="Arial" panose="020B0604020202020204" pitchFamily="34" charset="0"/>
                <a:buChar char="—"/>
                <a:defRPr/>
              </a:pPr>
              <a:r>
                <a:rPr lang="de-DE" sz="1000" dirty="0">
                  <a:solidFill>
                    <a:srgbClr val="00338D"/>
                  </a:solidFill>
                  <a:latin typeface="Arial" panose="020B0604020202020204" pitchFamily="34" charset="0"/>
                  <a:cs typeface="Arial" panose="020B0604020202020204" pitchFamily="34" charset="0"/>
                </a:rPr>
                <a:t>n</a:t>
              </a:r>
              <a:r>
                <a:rPr lang="de-DE" sz="1000" dirty="0" smtClean="0">
                  <a:solidFill>
                    <a:srgbClr val="00338D"/>
                  </a:solidFill>
                  <a:latin typeface="Arial" panose="020B0604020202020204" pitchFamily="34" charset="0"/>
                  <a:cs typeface="Arial" panose="020B0604020202020204" pitchFamily="34" charset="0"/>
                </a:rPr>
                <a:t>eben </a:t>
              </a:r>
              <a:r>
                <a:rPr lang="de-DE" sz="1000" dirty="0">
                  <a:solidFill>
                    <a:srgbClr val="00338D"/>
                  </a:solidFill>
                  <a:latin typeface="Arial" panose="020B0604020202020204" pitchFamily="34" charset="0"/>
                  <a:cs typeface="Arial" panose="020B0604020202020204" pitchFamily="34" charset="0"/>
                </a:rPr>
                <a:t>der Fallstudienbearbeitung erwartet </a:t>
              </a:r>
              <a:r>
                <a:rPr lang="de-DE" sz="1000" dirty="0" smtClean="0">
                  <a:solidFill>
                    <a:srgbClr val="00338D"/>
                  </a:solidFill>
                  <a:latin typeface="Arial" panose="020B0604020202020204" pitchFamily="34" charset="0"/>
                  <a:cs typeface="Arial" panose="020B0604020202020204" pitchFamily="34" charset="0"/>
                </a:rPr>
                <a:t>das Team </a:t>
              </a:r>
              <a:r>
                <a:rPr lang="de-DE" sz="1000" dirty="0">
                  <a:solidFill>
                    <a:srgbClr val="00338D"/>
                  </a:solidFill>
                  <a:latin typeface="Arial" panose="020B0604020202020204" pitchFamily="34" charset="0"/>
                  <a:cs typeface="Arial" panose="020B0604020202020204" pitchFamily="34" charset="0"/>
                </a:rPr>
                <a:t>ein ereignisreiches </a:t>
              </a:r>
              <a:r>
                <a:rPr lang="de-DE" sz="1000" dirty="0" smtClean="0">
                  <a:solidFill>
                    <a:srgbClr val="00338D"/>
                  </a:solidFill>
                  <a:latin typeface="Arial" panose="020B0604020202020204" pitchFamily="34" charset="0"/>
                  <a:cs typeface="Arial" panose="020B0604020202020204" pitchFamily="34" charset="0"/>
                </a:rPr>
                <a:t>Rahmenprogramm</a:t>
              </a:r>
              <a:endParaRPr lang="de-DE" sz="1000" dirty="0">
                <a:solidFill>
                  <a:srgbClr val="00338D"/>
                </a:solidFill>
                <a:latin typeface="Arial" panose="020B0604020202020204" pitchFamily="34" charset="0"/>
                <a:cs typeface="Arial" panose="020B0604020202020204" pitchFamily="34" charset="0"/>
              </a:endParaRPr>
            </a:p>
          </p:txBody>
        </p:sp>
      </p:grpSp>
      <p:sp>
        <p:nvSpPr>
          <p:cNvPr id="3" name="Titel 2"/>
          <p:cNvSpPr>
            <a:spLocks noGrp="1"/>
          </p:cNvSpPr>
          <p:nvPr>
            <p:ph type="title"/>
          </p:nvPr>
        </p:nvSpPr>
        <p:spPr/>
        <p:txBody>
          <a:bodyPr/>
          <a:lstStyle/>
          <a:p>
            <a:r>
              <a:rPr lang="de-DE" dirty="0" smtClean="0"/>
              <a:t>Der Wettbewerb im Überblick</a:t>
            </a:r>
            <a:endParaRPr lang="de-DE" dirty="0"/>
          </a:p>
        </p:txBody>
      </p:sp>
      <p:sp>
        <p:nvSpPr>
          <p:cNvPr id="2" name="Textplatzhalter 1"/>
          <p:cNvSpPr>
            <a:spLocks noGrp="1"/>
          </p:cNvSpPr>
          <p:nvPr>
            <p:ph type="body" sz="quarter" idx="11"/>
          </p:nvPr>
        </p:nvSpPr>
        <p:spPr/>
        <p:txBody>
          <a:bodyPr/>
          <a:lstStyle/>
          <a:p>
            <a:r>
              <a:rPr lang="de-DE" dirty="0" smtClean="0"/>
              <a:t>KICC 2017</a:t>
            </a:r>
            <a:endParaRPr lang="de-DE" dirty="0"/>
          </a:p>
        </p:txBody>
      </p:sp>
      <p:sp>
        <p:nvSpPr>
          <p:cNvPr id="12" name="Freeform 74"/>
          <p:cNvSpPr>
            <a:spLocks noEditPoints="1"/>
          </p:cNvSpPr>
          <p:nvPr/>
        </p:nvSpPr>
        <p:spPr bwMode="auto">
          <a:xfrm>
            <a:off x="2339497" y="1762266"/>
            <a:ext cx="227886" cy="273711"/>
          </a:xfrm>
          <a:custGeom>
            <a:avLst/>
            <a:gdLst/>
            <a:ahLst/>
            <a:cxnLst>
              <a:cxn ang="0">
                <a:pos x="1160" y="629"/>
              </a:cxn>
              <a:cxn ang="0">
                <a:pos x="985" y="688"/>
              </a:cxn>
              <a:cxn ang="0">
                <a:pos x="835" y="791"/>
              </a:cxn>
              <a:cxn ang="0">
                <a:pos x="718" y="932"/>
              </a:cxn>
              <a:cxn ang="0">
                <a:pos x="643" y="1099"/>
              </a:cxn>
              <a:cxn ang="0">
                <a:pos x="616" y="1288"/>
              </a:cxn>
              <a:cxn ang="0">
                <a:pos x="643" y="1477"/>
              </a:cxn>
              <a:cxn ang="0">
                <a:pos x="718" y="1645"/>
              </a:cxn>
              <a:cxn ang="0">
                <a:pos x="835" y="1784"/>
              </a:cxn>
              <a:cxn ang="0">
                <a:pos x="985" y="1887"/>
              </a:cxn>
              <a:cxn ang="0">
                <a:pos x="1160" y="1948"/>
              </a:cxn>
              <a:cxn ang="0">
                <a:pos x="1353" y="1957"/>
              </a:cxn>
              <a:cxn ang="0">
                <a:pos x="1536" y="1913"/>
              </a:cxn>
              <a:cxn ang="0">
                <a:pos x="1694" y="1823"/>
              </a:cxn>
              <a:cxn ang="0">
                <a:pos x="1823" y="1695"/>
              </a:cxn>
              <a:cxn ang="0">
                <a:pos x="1914" y="1535"/>
              </a:cxn>
              <a:cxn ang="0">
                <a:pos x="1957" y="1353"/>
              </a:cxn>
              <a:cxn ang="0">
                <a:pos x="1948" y="1161"/>
              </a:cxn>
              <a:cxn ang="0">
                <a:pos x="1888" y="985"/>
              </a:cxn>
              <a:cxn ang="0">
                <a:pos x="1784" y="835"/>
              </a:cxn>
              <a:cxn ang="0">
                <a:pos x="1644" y="719"/>
              </a:cxn>
              <a:cxn ang="0">
                <a:pos x="1477" y="643"/>
              </a:cxn>
              <a:cxn ang="0">
                <a:pos x="1288" y="616"/>
              </a:cxn>
              <a:cxn ang="0">
                <a:pos x="1452" y="11"/>
              </a:cxn>
              <a:cxn ang="0">
                <a:pos x="1694" y="66"/>
              </a:cxn>
              <a:cxn ang="0">
                <a:pos x="1924" y="168"/>
              </a:cxn>
              <a:cxn ang="0">
                <a:pos x="2134" y="317"/>
              </a:cxn>
              <a:cxn ang="0">
                <a:pos x="2314" y="509"/>
              </a:cxn>
              <a:cxn ang="0">
                <a:pos x="2448" y="726"/>
              </a:cxn>
              <a:cxn ang="0">
                <a:pos x="2534" y="961"/>
              </a:cxn>
              <a:cxn ang="0">
                <a:pos x="2574" y="1205"/>
              </a:cxn>
              <a:cxn ang="0">
                <a:pos x="2565" y="1453"/>
              </a:cxn>
              <a:cxn ang="0">
                <a:pos x="2511" y="1694"/>
              </a:cxn>
              <a:cxn ang="0">
                <a:pos x="2409" y="1924"/>
              </a:cxn>
              <a:cxn ang="0">
                <a:pos x="2259" y="2134"/>
              </a:cxn>
              <a:cxn ang="0">
                <a:pos x="377" y="2199"/>
              </a:cxn>
              <a:cxn ang="0">
                <a:pos x="212" y="1997"/>
              </a:cxn>
              <a:cxn ang="0">
                <a:pos x="94" y="1772"/>
              </a:cxn>
              <a:cxn ang="0">
                <a:pos x="24" y="1534"/>
              </a:cxn>
              <a:cxn ang="0">
                <a:pos x="0" y="1288"/>
              </a:cxn>
              <a:cxn ang="0">
                <a:pos x="24" y="1042"/>
              </a:cxn>
              <a:cxn ang="0">
                <a:pos x="94" y="803"/>
              </a:cxn>
              <a:cxn ang="0">
                <a:pos x="212" y="580"/>
              </a:cxn>
              <a:cxn ang="0">
                <a:pos x="377" y="378"/>
              </a:cxn>
              <a:cxn ang="0">
                <a:pos x="579" y="213"/>
              </a:cxn>
              <a:cxn ang="0">
                <a:pos x="804" y="94"/>
              </a:cxn>
              <a:cxn ang="0">
                <a:pos x="1041" y="24"/>
              </a:cxn>
              <a:cxn ang="0">
                <a:pos x="1287" y="0"/>
              </a:cxn>
            </a:cxnLst>
            <a:rect l="0" t="0" r="r" b="b"/>
            <a:pathLst>
              <a:path w="2576" h="3095">
                <a:moveTo>
                  <a:pt x="1288" y="616"/>
                </a:moveTo>
                <a:lnTo>
                  <a:pt x="1223" y="619"/>
                </a:lnTo>
                <a:lnTo>
                  <a:pt x="1160" y="629"/>
                </a:lnTo>
                <a:lnTo>
                  <a:pt x="1099" y="643"/>
                </a:lnTo>
                <a:lnTo>
                  <a:pt x="1040" y="663"/>
                </a:lnTo>
                <a:lnTo>
                  <a:pt x="985" y="688"/>
                </a:lnTo>
                <a:lnTo>
                  <a:pt x="932" y="719"/>
                </a:lnTo>
                <a:lnTo>
                  <a:pt x="882" y="753"/>
                </a:lnTo>
                <a:lnTo>
                  <a:pt x="835" y="791"/>
                </a:lnTo>
                <a:lnTo>
                  <a:pt x="792" y="835"/>
                </a:lnTo>
                <a:lnTo>
                  <a:pt x="753" y="882"/>
                </a:lnTo>
                <a:lnTo>
                  <a:pt x="718" y="932"/>
                </a:lnTo>
                <a:lnTo>
                  <a:pt x="688" y="985"/>
                </a:lnTo>
                <a:lnTo>
                  <a:pt x="662" y="1040"/>
                </a:lnTo>
                <a:lnTo>
                  <a:pt x="643" y="1099"/>
                </a:lnTo>
                <a:lnTo>
                  <a:pt x="628" y="1161"/>
                </a:lnTo>
                <a:lnTo>
                  <a:pt x="619" y="1224"/>
                </a:lnTo>
                <a:lnTo>
                  <a:pt x="616" y="1288"/>
                </a:lnTo>
                <a:lnTo>
                  <a:pt x="619" y="1353"/>
                </a:lnTo>
                <a:lnTo>
                  <a:pt x="628" y="1416"/>
                </a:lnTo>
                <a:lnTo>
                  <a:pt x="643" y="1477"/>
                </a:lnTo>
                <a:lnTo>
                  <a:pt x="662" y="1535"/>
                </a:lnTo>
                <a:lnTo>
                  <a:pt x="688" y="1592"/>
                </a:lnTo>
                <a:lnTo>
                  <a:pt x="718" y="1645"/>
                </a:lnTo>
                <a:lnTo>
                  <a:pt x="753" y="1695"/>
                </a:lnTo>
                <a:lnTo>
                  <a:pt x="792" y="1742"/>
                </a:lnTo>
                <a:lnTo>
                  <a:pt x="835" y="1784"/>
                </a:lnTo>
                <a:lnTo>
                  <a:pt x="882" y="1823"/>
                </a:lnTo>
                <a:lnTo>
                  <a:pt x="932" y="1858"/>
                </a:lnTo>
                <a:lnTo>
                  <a:pt x="985" y="1887"/>
                </a:lnTo>
                <a:lnTo>
                  <a:pt x="1040" y="1913"/>
                </a:lnTo>
                <a:lnTo>
                  <a:pt x="1099" y="1933"/>
                </a:lnTo>
                <a:lnTo>
                  <a:pt x="1160" y="1948"/>
                </a:lnTo>
                <a:lnTo>
                  <a:pt x="1223" y="1957"/>
                </a:lnTo>
                <a:lnTo>
                  <a:pt x="1288" y="1960"/>
                </a:lnTo>
                <a:lnTo>
                  <a:pt x="1353" y="1957"/>
                </a:lnTo>
                <a:lnTo>
                  <a:pt x="1416" y="1948"/>
                </a:lnTo>
                <a:lnTo>
                  <a:pt x="1477" y="1933"/>
                </a:lnTo>
                <a:lnTo>
                  <a:pt x="1536" y="1913"/>
                </a:lnTo>
                <a:lnTo>
                  <a:pt x="1591" y="1887"/>
                </a:lnTo>
                <a:lnTo>
                  <a:pt x="1644" y="1858"/>
                </a:lnTo>
                <a:lnTo>
                  <a:pt x="1694" y="1823"/>
                </a:lnTo>
                <a:lnTo>
                  <a:pt x="1741" y="1784"/>
                </a:lnTo>
                <a:lnTo>
                  <a:pt x="1784" y="1742"/>
                </a:lnTo>
                <a:lnTo>
                  <a:pt x="1823" y="1695"/>
                </a:lnTo>
                <a:lnTo>
                  <a:pt x="1858" y="1645"/>
                </a:lnTo>
                <a:lnTo>
                  <a:pt x="1888" y="1592"/>
                </a:lnTo>
                <a:lnTo>
                  <a:pt x="1914" y="1535"/>
                </a:lnTo>
                <a:lnTo>
                  <a:pt x="1933" y="1477"/>
                </a:lnTo>
                <a:lnTo>
                  <a:pt x="1948" y="1416"/>
                </a:lnTo>
                <a:lnTo>
                  <a:pt x="1957" y="1353"/>
                </a:lnTo>
                <a:lnTo>
                  <a:pt x="1960" y="1288"/>
                </a:lnTo>
                <a:lnTo>
                  <a:pt x="1957" y="1224"/>
                </a:lnTo>
                <a:lnTo>
                  <a:pt x="1948" y="1161"/>
                </a:lnTo>
                <a:lnTo>
                  <a:pt x="1933" y="1099"/>
                </a:lnTo>
                <a:lnTo>
                  <a:pt x="1914" y="1040"/>
                </a:lnTo>
                <a:lnTo>
                  <a:pt x="1888" y="985"/>
                </a:lnTo>
                <a:lnTo>
                  <a:pt x="1858" y="932"/>
                </a:lnTo>
                <a:lnTo>
                  <a:pt x="1823" y="882"/>
                </a:lnTo>
                <a:lnTo>
                  <a:pt x="1784" y="835"/>
                </a:lnTo>
                <a:lnTo>
                  <a:pt x="1741" y="791"/>
                </a:lnTo>
                <a:lnTo>
                  <a:pt x="1694" y="753"/>
                </a:lnTo>
                <a:lnTo>
                  <a:pt x="1644" y="719"/>
                </a:lnTo>
                <a:lnTo>
                  <a:pt x="1591" y="688"/>
                </a:lnTo>
                <a:lnTo>
                  <a:pt x="1536" y="663"/>
                </a:lnTo>
                <a:lnTo>
                  <a:pt x="1477" y="643"/>
                </a:lnTo>
                <a:lnTo>
                  <a:pt x="1416" y="629"/>
                </a:lnTo>
                <a:lnTo>
                  <a:pt x="1353" y="619"/>
                </a:lnTo>
                <a:lnTo>
                  <a:pt x="1288" y="616"/>
                </a:lnTo>
                <a:close/>
                <a:moveTo>
                  <a:pt x="1287" y="0"/>
                </a:moveTo>
                <a:lnTo>
                  <a:pt x="1371" y="3"/>
                </a:lnTo>
                <a:lnTo>
                  <a:pt x="1452" y="11"/>
                </a:lnTo>
                <a:lnTo>
                  <a:pt x="1535" y="24"/>
                </a:lnTo>
                <a:lnTo>
                  <a:pt x="1615" y="42"/>
                </a:lnTo>
                <a:lnTo>
                  <a:pt x="1694" y="66"/>
                </a:lnTo>
                <a:lnTo>
                  <a:pt x="1772" y="94"/>
                </a:lnTo>
                <a:lnTo>
                  <a:pt x="1849" y="128"/>
                </a:lnTo>
                <a:lnTo>
                  <a:pt x="1924" y="168"/>
                </a:lnTo>
                <a:lnTo>
                  <a:pt x="1997" y="213"/>
                </a:lnTo>
                <a:lnTo>
                  <a:pt x="2067" y="261"/>
                </a:lnTo>
                <a:lnTo>
                  <a:pt x="2134" y="317"/>
                </a:lnTo>
                <a:lnTo>
                  <a:pt x="2199" y="378"/>
                </a:lnTo>
                <a:lnTo>
                  <a:pt x="2259" y="442"/>
                </a:lnTo>
                <a:lnTo>
                  <a:pt x="2314" y="509"/>
                </a:lnTo>
                <a:lnTo>
                  <a:pt x="2364" y="580"/>
                </a:lnTo>
                <a:lnTo>
                  <a:pt x="2409" y="651"/>
                </a:lnTo>
                <a:lnTo>
                  <a:pt x="2448" y="726"/>
                </a:lnTo>
                <a:lnTo>
                  <a:pt x="2482" y="803"/>
                </a:lnTo>
                <a:lnTo>
                  <a:pt x="2511" y="882"/>
                </a:lnTo>
                <a:lnTo>
                  <a:pt x="2534" y="961"/>
                </a:lnTo>
                <a:lnTo>
                  <a:pt x="2552" y="1042"/>
                </a:lnTo>
                <a:lnTo>
                  <a:pt x="2565" y="1124"/>
                </a:lnTo>
                <a:lnTo>
                  <a:pt x="2574" y="1205"/>
                </a:lnTo>
                <a:lnTo>
                  <a:pt x="2576" y="1288"/>
                </a:lnTo>
                <a:lnTo>
                  <a:pt x="2574" y="1370"/>
                </a:lnTo>
                <a:lnTo>
                  <a:pt x="2565" y="1453"/>
                </a:lnTo>
                <a:lnTo>
                  <a:pt x="2552" y="1534"/>
                </a:lnTo>
                <a:lnTo>
                  <a:pt x="2534" y="1615"/>
                </a:lnTo>
                <a:lnTo>
                  <a:pt x="2511" y="1694"/>
                </a:lnTo>
                <a:lnTo>
                  <a:pt x="2482" y="1772"/>
                </a:lnTo>
                <a:lnTo>
                  <a:pt x="2448" y="1849"/>
                </a:lnTo>
                <a:lnTo>
                  <a:pt x="2409" y="1924"/>
                </a:lnTo>
                <a:lnTo>
                  <a:pt x="2364" y="1997"/>
                </a:lnTo>
                <a:lnTo>
                  <a:pt x="2314" y="2067"/>
                </a:lnTo>
                <a:lnTo>
                  <a:pt x="2259" y="2134"/>
                </a:lnTo>
                <a:lnTo>
                  <a:pt x="2199" y="2199"/>
                </a:lnTo>
                <a:lnTo>
                  <a:pt x="1288" y="3095"/>
                </a:lnTo>
                <a:lnTo>
                  <a:pt x="377" y="2199"/>
                </a:lnTo>
                <a:lnTo>
                  <a:pt x="317" y="2134"/>
                </a:lnTo>
                <a:lnTo>
                  <a:pt x="262" y="2067"/>
                </a:lnTo>
                <a:lnTo>
                  <a:pt x="212" y="1997"/>
                </a:lnTo>
                <a:lnTo>
                  <a:pt x="167" y="1924"/>
                </a:lnTo>
                <a:lnTo>
                  <a:pt x="128" y="1849"/>
                </a:lnTo>
                <a:lnTo>
                  <a:pt x="94" y="1772"/>
                </a:lnTo>
                <a:lnTo>
                  <a:pt x="65" y="1694"/>
                </a:lnTo>
                <a:lnTo>
                  <a:pt x="42" y="1615"/>
                </a:lnTo>
                <a:lnTo>
                  <a:pt x="24" y="1534"/>
                </a:lnTo>
                <a:lnTo>
                  <a:pt x="11" y="1453"/>
                </a:lnTo>
                <a:lnTo>
                  <a:pt x="2" y="1370"/>
                </a:lnTo>
                <a:lnTo>
                  <a:pt x="0" y="1288"/>
                </a:lnTo>
                <a:lnTo>
                  <a:pt x="2" y="1205"/>
                </a:lnTo>
                <a:lnTo>
                  <a:pt x="11" y="1124"/>
                </a:lnTo>
                <a:lnTo>
                  <a:pt x="24" y="1042"/>
                </a:lnTo>
                <a:lnTo>
                  <a:pt x="42" y="961"/>
                </a:lnTo>
                <a:lnTo>
                  <a:pt x="65" y="882"/>
                </a:lnTo>
                <a:lnTo>
                  <a:pt x="94" y="803"/>
                </a:lnTo>
                <a:lnTo>
                  <a:pt x="128" y="726"/>
                </a:lnTo>
                <a:lnTo>
                  <a:pt x="167" y="651"/>
                </a:lnTo>
                <a:lnTo>
                  <a:pt x="212" y="580"/>
                </a:lnTo>
                <a:lnTo>
                  <a:pt x="262" y="509"/>
                </a:lnTo>
                <a:lnTo>
                  <a:pt x="317" y="442"/>
                </a:lnTo>
                <a:lnTo>
                  <a:pt x="377" y="378"/>
                </a:lnTo>
                <a:lnTo>
                  <a:pt x="442" y="317"/>
                </a:lnTo>
                <a:lnTo>
                  <a:pt x="509" y="261"/>
                </a:lnTo>
                <a:lnTo>
                  <a:pt x="579" y="213"/>
                </a:lnTo>
                <a:lnTo>
                  <a:pt x="652" y="168"/>
                </a:lnTo>
                <a:lnTo>
                  <a:pt x="727" y="128"/>
                </a:lnTo>
                <a:lnTo>
                  <a:pt x="804" y="94"/>
                </a:lnTo>
                <a:lnTo>
                  <a:pt x="882" y="66"/>
                </a:lnTo>
                <a:lnTo>
                  <a:pt x="961" y="42"/>
                </a:lnTo>
                <a:lnTo>
                  <a:pt x="1041" y="24"/>
                </a:lnTo>
                <a:lnTo>
                  <a:pt x="1124" y="11"/>
                </a:lnTo>
                <a:lnTo>
                  <a:pt x="1205" y="3"/>
                </a:lnTo>
                <a:lnTo>
                  <a:pt x="1287" y="0"/>
                </a:lnTo>
                <a:close/>
              </a:path>
            </a:pathLst>
          </a:custGeom>
          <a:solidFill>
            <a:srgbClr val="00338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32" name="Gruppieren 31"/>
          <p:cNvGrpSpPr/>
          <p:nvPr/>
        </p:nvGrpSpPr>
        <p:grpSpPr>
          <a:xfrm>
            <a:off x="1291201" y="2386836"/>
            <a:ext cx="376337" cy="342900"/>
            <a:chOff x="16722501" y="5559425"/>
            <a:chExt cx="839788" cy="765176"/>
          </a:xfrm>
          <a:solidFill>
            <a:schemeClr val="bg1"/>
          </a:solidFill>
        </p:grpSpPr>
        <p:sp>
          <p:nvSpPr>
            <p:cNvPr id="33" name="Freeform 30"/>
            <p:cNvSpPr>
              <a:spLocks/>
            </p:cNvSpPr>
            <p:nvPr/>
          </p:nvSpPr>
          <p:spPr bwMode="auto">
            <a:xfrm>
              <a:off x="16827276" y="5713413"/>
              <a:ext cx="630238" cy="611188"/>
            </a:xfrm>
            <a:custGeom>
              <a:avLst/>
              <a:gdLst/>
              <a:ahLst/>
              <a:cxnLst>
                <a:cxn ang="0">
                  <a:pos x="56" y="163"/>
                </a:cxn>
                <a:cxn ang="0">
                  <a:pos x="1" y="163"/>
                </a:cxn>
                <a:cxn ang="0">
                  <a:pos x="0" y="161"/>
                </a:cxn>
                <a:cxn ang="0">
                  <a:pos x="0" y="62"/>
                </a:cxn>
                <a:cxn ang="0">
                  <a:pos x="2" y="58"/>
                </a:cxn>
                <a:cxn ang="0">
                  <a:pos x="82" y="1"/>
                </a:cxn>
                <a:cxn ang="0">
                  <a:pos x="87" y="1"/>
                </a:cxn>
                <a:cxn ang="0">
                  <a:pos x="166" y="58"/>
                </a:cxn>
                <a:cxn ang="0">
                  <a:pos x="168" y="62"/>
                </a:cxn>
                <a:cxn ang="0">
                  <a:pos x="168" y="160"/>
                </a:cxn>
                <a:cxn ang="0">
                  <a:pos x="165" y="163"/>
                </a:cxn>
                <a:cxn ang="0">
                  <a:pos x="115" y="163"/>
                </a:cxn>
                <a:cxn ang="0">
                  <a:pos x="112" y="163"/>
                </a:cxn>
                <a:cxn ang="0">
                  <a:pos x="112" y="160"/>
                </a:cxn>
                <a:cxn ang="0">
                  <a:pos x="112" y="98"/>
                </a:cxn>
                <a:cxn ang="0">
                  <a:pos x="109" y="95"/>
                </a:cxn>
                <a:cxn ang="0">
                  <a:pos x="59" y="95"/>
                </a:cxn>
                <a:cxn ang="0">
                  <a:pos x="56" y="98"/>
                </a:cxn>
                <a:cxn ang="0">
                  <a:pos x="56" y="160"/>
                </a:cxn>
                <a:cxn ang="0">
                  <a:pos x="56" y="163"/>
                </a:cxn>
              </a:cxnLst>
              <a:rect l="0" t="0" r="r" b="b"/>
              <a:pathLst>
                <a:path w="168" h="163">
                  <a:moveTo>
                    <a:pt x="56" y="163"/>
                  </a:moveTo>
                  <a:cubicBezTo>
                    <a:pt x="37" y="163"/>
                    <a:pt x="19" y="163"/>
                    <a:pt x="1" y="163"/>
                  </a:cubicBezTo>
                  <a:cubicBezTo>
                    <a:pt x="1" y="162"/>
                    <a:pt x="0" y="161"/>
                    <a:pt x="0" y="161"/>
                  </a:cubicBezTo>
                  <a:cubicBezTo>
                    <a:pt x="0" y="128"/>
                    <a:pt x="0" y="95"/>
                    <a:pt x="0" y="62"/>
                  </a:cubicBezTo>
                  <a:cubicBezTo>
                    <a:pt x="0" y="60"/>
                    <a:pt x="1" y="59"/>
                    <a:pt x="2" y="58"/>
                  </a:cubicBezTo>
                  <a:cubicBezTo>
                    <a:pt x="29" y="39"/>
                    <a:pt x="55" y="20"/>
                    <a:pt x="82" y="1"/>
                  </a:cubicBezTo>
                  <a:cubicBezTo>
                    <a:pt x="84" y="0"/>
                    <a:pt x="85" y="0"/>
                    <a:pt x="87" y="1"/>
                  </a:cubicBezTo>
                  <a:cubicBezTo>
                    <a:pt x="113" y="20"/>
                    <a:pt x="140" y="39"/>
                    <a:pt x="166" y="58"/>
                  </a:cubicBezTo>
                  <a:cubicBezTo>
                    <a:pt x="167" y="59"/>
                    <a:pt x="168" y="60"/>
                    <a:pt x="168" y="62"/>
                  </a:cubicBezTo>
                  <a:cubicBezTo>
                    <a:pt x="168" y="95"/>
                    <a:pt x="168" y="128"/>
                    <a:pt x="168" y="160"/>
                  </a:cubicBezTo>
                  <a:cubicBezTo>
                    <a:pt x="168" y="163"/>
                    <a:pt x="167" y="163"/>
                    <a:pt x="165" y="163"/>
                  </a:cubicBezTo>
                  <a:cubicBezTo>
                    <a:pt x="149" y="163"/>
                    <a:pt x="132" y="163"/>
                    <a:pt x="115" y="163"/>
                  </a:cubicBezTo>
                  <a:cubicBezTo>
                    <a:pt x="114" y="163"/>
                    <a:pt x="114" y="163"/>
                    <a:pt x="112" y="163"/>
                  </a:cubicBezTo>
                  <a:cubicBezTo>
                    <a:pt x="112" y="162"/>
                    <a:pt x="112" y="161"/>
                    <a:pt x="112" y="160"/>
                  </a:cubicBezTo>
                  <a:cubicBezTo>
                    <a:pt x="112" y="139"/>
                    <a:pt x="112" y="119"/>
                    <a:pt x="112" y="98"/>
                  </a:cubicBezTo>
                  <a:cubicBezTo>
                    <a:pt x="112" y="96"/>
                    <a:pt x="112" y="95"/>
                    <a:pt x="109" y="95"/>
                  </a:cubicBezTo>
                  <a:cubicBezTo>
                    <a:pt x="93" y="95"/>
                    <a:pt x="76" y="95"/>
                    <a:pt x="59" y="95"/>
                  </a:cubicBezTo>
                  <a:cubicBezTo>
                    <a:pt x="57" y="95"/>
                    <a:pt x="56" y="96"/>
                    <a:pt x="56" y="98"/>
                  </a:cubicBezTo>
                  <a:cubicBezTo>
                    <a:pt x="56" y="119"/>
                    <a:pt x="56" y="139"/>
                    <a:pt x="56" y="160"/>
                  </a:cubicBezTo>
                  <a:cubicBezTo>
                    <a:pt x="56" y="161"/>
                    <a:pt x="56" y="162"/>
                    <a:pt x="56" y="1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31"/>
            <p:cNvSpPr>
              <a:spLocks/>
            </p:cNvSpPr>
            <p:nvPr/>
          </p:nvSpPr>
          <p:spPr bwMode="auto">
            <a:xfrm>
              <a:off x="16722501" y="5559425"/>
              <a:ext cx="839788" cy="377825"/>
            </a:xfrm>
            <a:custGeom>
              <a:avLst/>
              <a:gdLst/>
              <a:ahLst/>
              <a:cxnLst>
                <a:cxn ang="0">
                  <a:pos x="224" y="88"/>
                </a:cxn>
                <a:cxn ang="0">
                  <a:pos x="215" y="101"/>
                </a:cxn>
                <a:cxn ang="0">
                  <a:pos x="202" y="92"/>
                </a:cxn>
                <a:cxn ang="0">
                  <a:pos x="115" y="29"/>
                </a:cxn>
                <a:cxn ang="0">
                  <a:pos x="110" y="29"/>
                </a:cxn>
                <a:cxn ang="0">
                  <a:pos x="12" y="100"/>
                </a:cxn>
                <a:cxn ang="0">
                  <a:pos x="10" y="101"/>
                </a:cxn>
                <a:cxn ang="0">
                  <a:pos x="0" y="88"/>
                </a:cxn>
                <a:cxn ang="0">
                  <a:pos x="112" y="8"/>
                </a:cxn>
                <a:cxn ang="0">
                  <a:pos x="156" y="40"/>
                </a:cxn>
                <a:cxn ang="0">
                  <a:pos x="156" y="36"/>
                </a:cxn>
                <a:cxn ang="0">
                  <a:pos x="156" y="3"/>
                </a:cxn>
                <a:cxn ang="0">
                  <a:pos x="159" y="0"/>
                </a:cxn>
                <a:cxn ang="0">
                  <a:pos x="181" y="1"/>
                </a:cxn>
                <a:cxn ang="0">
                  <a:pos x="184" y="4"/>
                </a:cxn>
                <a:cxn ang="0">
                  <a:pos x="184" y="56"/>
                </a:cxn>
                <a:cxn ang="0">
                  <a:pos x="187" y="62"/>
                </a:cxn>
                <a:cxn ang="0">
                  <a:pos x="222" y="87"/>
                </a:cxn>
                <a:cxn ang="0">
                  <a:pos x="224" y="88"/>
                </a:cxn>
              </a:cxnLst>
              <a:rect l="0" t="0" r="r" b="b"/>
              <a:pathLst>
                <a:path w="224" h="101">
                  <a:moveTo>
                    <a:pt x="224" y="88"/>
                  </a:moveTo>
                  <a:cubicBezTo>
                    <a:pt x="221" y="93"/>
                    <a:pt x="218" y="97"/>
                    <a:pt x="215" y="101"/>
                  </a:cubicBezTo>
                  <a:cubicBezTo>
                    <a:pt x="210" y="98"/>
                    <a:pt x="206" y="95"/>
                    <a:pt x="202" y="92"/>
                  </a:cubicBezTo>
                  <a:cubicBezTo>
                    <a:pt x="173" y="71"/>
                    <a:pt x="143" y="50"/>
                    <a:pt x="115" y="29"/>
                  </a:cubicBezTo>
                  <a:cubicBezTo>
                    <a:pt x="113" y="28"/>
                    <a:pt x="112" y="28"/>
                    <a:pt x="110" y="29"/>
                  </a:cubicBezTo>
                  <a:cubicBezTo>
                    <a:pt x="77" y="53"/>
                    <a:pt x="44" y="76"/>
                    <a:pt x="12" y="100"/>
                  </a:cubicBezTo>
                  <a:cubicBezTo>
                    <a:pt x="11" y="100"/>
                    <a:pt x="10" y="101"/>
                    <a:pt x="10" y="101"/>
                  </a:cubicBezTo>
                  <a:cubicBezTo>
                    <a:pt x="7" y="97"/>
                    <a:pt x="4" y="93"/>
                    <a:pt x="0" y="88"/>
                  </a:cubicBezTo>
                  <a:cubicBezTo>
                    <a:pt x="38" y="62"/>
                    <a:pt x="75" y="35"/>
                    <a:pt x="112" y="8"/>
                  </a:cubicBezTo>
                  <a:cubicBezTo>
                    <a:pt x="127" y="19"/>
                    <a:pt x="141" y="29"/>
                    <a:pt x="156" y="40"/>
                  </a:cubicBezTo>
                  <a:cubicBezTo>
                    <a:pt x="156" y="38"/>
                    <a:pt x="156" y="37"/>
                    <a:pt x="156" y="36"/>
                  </a:cubicBezTo>
                  <a:cubicBezTo>
                    <a:pt x="156" y="25"/>
                    <a:pt x="157" y="14"/>
                    <a:pt x="156" y="3"/>
                  </a:cubicBezTo>
                  <a:cubicBezTo>
                    <a:pt x="156" y="1"/>
                    <a:pt x="157" y="0"/>
                    <a:pt x="159" y="0"/>
                  </a:cubicBezTo>
                  <a:cubicBezTo>
                    <a:pt x="166" y="1"/>
                    <a:pt x="174" y="1"/>
                    <a:pt x="181" y="1"/>
                  </a:cubicBezTo>
                  <a:cubicBezTo>
                    <a:pt x="184" y="1"/>
                    <a:pt x="184" y="1"/>
                    <a:pt x="184" y="4"/>
                  </a:cubicBezTo>
                  <a:cubicBezTo>
                    <a:pt x="184" y="21"/>
                    <a:pt x="184" y="39"/>
                    <a:pt x="184" y="56"/>
                  </a:cubicBezTo>
                  <a:cubicBezTo>
                    <a:pt x="184" y="59"/>
                    <a:pt x="185" y="60"/>
                    <a:pt x="187" y="62"/>
                  </a:cubicBezTo>
                  <a:cubicBezTo>
                    <a:pt x="199" y="70"/>
                    <a:pt x="210" y="78"/>
                    <a:pt x="222" y="87"/>
                  </a:cubicBezTo>
                  <a:cubicBezTo>
                    <a:pt x="223" y="87"/>
                    <a:pt x="223" y="88"/>
                    <a:pt x="22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7" name="Gruppieren 46"/>
          <p:cNvGrpSpPr/>
          <p:nvPr/>
        </p:nvGrpSpPr>
        <p:grpSpPr>
          <a:xfrm>
            <a:off x="2331316" y="1474861"/>
            <a:ext cx="244247" cy="244247"/>
            <a:chOff x="1500646" y="2452778"/>
            <a:chExt cx="711200" cy="711200"/>
          </a:xfrm>
          <a:solidFill>
            <a:srgbClr val="00338D"/>
          </a:solidFill>
        </p:grpSpPr>
        <p:sp>
          <p:nvSpPr>
            <p:cNvPr id="48" name="Freeform 15"/>
            <p:cNvSpPr>
              <a:spLocks noEditPoints="1"/>
            </p:cNvSpPr>
            <p:nvPr/>
          </p:nvSpPr>
          <p:spPr bwMode="auto">
            <a:xfrm>
              <a:off x="1500646" y="2452778"/>
              <a:ext cx="711200" cy="711200"/>
            </a:xfrm>
            <a:custGeom>
              <a:avLst/>
              <a:gdLst/>
              <a:ahLst/>
              <a:cxnLst>
                <a:cxn ang="0">
                  <a:pos x="1136" y="295"/>
                </a:cxn>
                <a:cxn ang="0">
                  <a:pos x="820" y="452"/>
                </a:cxn>
                <a:cxn ang="0">
                  <a:pos x="558" y="682"/>
                </a:cxn>
                <a:cxn ang="0">
                  <a:pos x="364" y="972"/>
                </a:cxn>
                <a:cxn ang="0">
                  <a:pos x="250" y="1310"/>
                </a:cxn>
                <a:cxn ang="0">
                  <a:pos x="234" y="1736"/>
                </a:cxn>
                <a:cxn ang="0">
                  <a:pos x="327" y="2083"/>
                </a:cxn>
                <a:cxn ang="0">
                  <a:pos x="503" y="2387"/>
                </a:cxn>
                <a:cxn ang="0">
                  <a:pos x="749" y="2633"/>
                </a:cxn>
                <a:cxn ang="0">
                  <a:pos x="1053" y="2809"/>
                </a:cxn>
                <a:cxn ang="0">
                  <a:pos x="1400" y="2902"/>
                </a:cxn>
                <a:cxn ang="0">
                  <a:pos x="1826" y="2886"/>
                </a:cxn>
                <a:cxn ang="0">
                  <a:pos x="2164" y="2772"/>
                </a:cxn>
                <a:cxn ang="0">
                  <a:pos x="2454" y="2578"/>
                </a:cxn>
                <a:cxn ang="0">
                  <a:pos x="2684" y="2316"/>
                </a:cxn>
                <a:cxn ang="0">
                  <a:pos x="2841" y="2000"/>
                </a:cxn>
                <a:cxn ang="0">
                  <a:pos x="2688" y="1736"/>
                </a:cxn>
                <a:cxn ang="0">
                  <a:pos x="2867" y="1222"/>
                </a:cxn>
                <a:cxn ang="0">
                  <a:pos x="2731" y="895"/>
                </a:cxn>
                <a:cxn ang="0">
                  <a:pos x="2518" y="618"/>
                </a:cxn>
                <a:cxn ang="0">
                  <a:pos x="2241" y="405"/>
                </a:cxn>
                <a:cxn ang="0">
                  <a:pos x="1914" y="269"/>
                </a:cxn>
                <a:cxn ang="0">
                  <a:pos x="1400" y="448"/>
                </a:cxn>
                <a:cxn ang="0">
                  <a:pos x="1772" y="13"/>
                </a:cxn>
                <a:cxn ang="0">
                  <a:pos x="2156" y="114"/>
                </a:cxn>
                <a:cxn ang="0">
                  <a:pos x="2494" y="303"/>
                </a:cxn>
                <a:cxn ang="0">
                  <a:pos x="2775" y="566"/>
                </a:cxn>
                <a:cxn ang="0">
                  <a:pos x="2983" y="891"/>
                </a:cxn>
                <a:cxn ang="0">
                  <a:pos x="3107" y="1264"/>
                </a:cxn>
                <a:cxn ang="0">
                  <a:pos x="3133" y="1671"/>
                </a:cxn>
                <a:cxn ang="0">
                  <a:pos x="3056" y="2063"/>
                </a:cxn>
                <a:cxn ang="0">
                  <a:pos x="2889" y="2414"/>
                </a:cxn>
                <a:cxn ang="0">
                  <a:pos x="2642" y="2711"/>
                </a:cxn>
                <a:cxn ang="0">
                  <a:pos x="2332" y="2938"/>
                </a:cxn>
                <a:cxn ang="0">
                  <a:pos x="1969" y="3084"/>
                </a:cxn>
                <a:cxn ang="0">
                  <a:pos x="1568" y="3136"/>
                </a:cxn>
                <a:cxn ang="0">
                  <a:pos x="1167" y="3084"/>
                </a:cxn>
                <a:cxn ang="0">
                  <a:pos x="804" y="2938"/>
                </a:cxn>
                <a:cxn ang="0">
                  <a:pos x="494" y="2711"/>
                </a:cxn>
                <a:cxn ang="0">
                  <a:pos x="247" y="2414"/>
                </a:cxn>
                <a:cxn ang="0">
                  <a:pos x="80" y="2063"/>
                </a:cxn>
                <a:cxn ang="0">
                  <a:pos x="3" y="1671"/>
                </a:cxn>
                <a:cxn ang="0">
                  <a:pos x="29" y="1264"/>
                </a:cxn>
                <a:cxn ang="0">
                  <a:pos x="153" y="891"/>
                </a:cxn>
                <a:cxn ang="0">
                  <a:pos x="361" y="566"/>
                </a:cxn>
                <a:cxn ang="0">
                  <a:pos x="642" y="303"/>
                </a:cxn>
                <a:cxn ang="0">
                  <a:pos x="980" y="114"/>
                </a:cxn>
                <a:cxn ang="0">
                  <a:pos x="1364" y="13"/>
                </a:cxn>
              </a:cxnLst>
              <a:rect l="0" t="0" r="r" b="b"/>
              <a:pathLst>
                <a:path w="3136" h="3136">
                  <a:moveTo>
                    <a:pt x="1400" y="234"/>
                  </a:moveTo>
                  <a:lnTo>
                    <a:pt x="1310" y="250"/>
                  </a:lnTo>
                  <a:lnTo>
                    <a:pt x="1222" y="269"/>
                  </a:lnTo>
                  <a:lnTo>
                    <a:pt x="1136" y="295"/>
                  </a:lnTo>
                  <a:lnTo>
                    <a:pt x="1053" y="327"/>
                  </a:lnTo>
                  <a:lnTo>
                    <a:pt x="972" y="364"/>
                  </a:lnTo>
                  <a:lnTo>
                    <a:pt x="895" y="405"/>
                  </a:lnTo>
                  <a:lnTo>
                    <a:pt x="820" y="452"/>
                  </a:lnTo>
                  <a:lnTo>
                    <a:pt x="749" y="503"/>
                  </a:lnTo>
                  <a:lnTo>
                    <a:pt x="682" y="558"/>
                  </a:lnTo>
                  <a:lnTo>
                    <a:pt x="618" y="618"/>
                  </a:lnTo>
                  <a:lnTo>
                    <a:pt x="558" y="682"/>
                  </a:lnTo>
                  <a:lnTo>
                    <a:pt x="503" y="749"/>
                  </a:lnTo>
                  <a:lnTo>
                    <a:pt x="452" y="820"/>
                  </a:lnTo>
                  <a:lnTo>
                    <a:pt x="405" y="895"/>
                  </a:lnTo>
                  <a:lnTo>
                    <a:pt x="364" y="972"/>
                  </a:lnTo>
                  <a:lnTo>
                    <a:pt x="327" y="1053"/>
                  </a:lnTo>
                  <a:lnTo>
                    <a:pt x="295" y="1136"/>
                  </a:lnTo>
                  <a:lnTo>
                    <a:pt x="269" y="1222"/>
                  </a:lnTo>
                  <a:lnTo>
                    <a:pt x="250" y="1310"/>
                  </a:lnTo>
                  <a:lnTo>
                    <a:pt x="234" y="1400"/>
                  </a:lnTo>
                  <a:lnTo>
                    <a:pt x="448" y="1400"/>
                  </a:lnTo>
                  <a:lnTo>
                    <a:pt x="448" y="1736"/>
                  </a:lnTo>
                  <a:lnTo>
                    <a:pt x="234" y="1736"/>
                  </a:lnTo>
                  <a:lnTo>
                    <a:pt x="250" y="1826"/>
                  </a:lnTo>
                  <a:lnTo>
                    <a:pt x="269" y="1914"/>
                  </a:lnTo>
                  <a:lnTo>
                    <a:pt x="295" y="2000"/>
                  </a:lnTo>
                  <a:lnTo>
                    <a:pt x="327" y="2083"/>
                  </a:lnTo>
                  <a:lnTo>
                    <a:pt x="364" y="2164"/>
                  </a:lnTo>
                  <a:lnTo>
                    <a:pt x="405" y="2241"/>
                  </a:lnTo>
                  <a:lnTo>
                    <a:pt x="452" y="2316"/>
                  </a:lnTo>
                  <a:lnTo>
                    <a:pt x="503" y="2387"/>
                  </a:lnTo>
                  <a:lnTo>
                    <a:pt x="558" y="2454"/>
                  </a:lnTo>
                  <a:lnTo>
                    <a:pt x="618" y="2518"/>
                  </a:lnTo>
                  <a:lnTo>
                    <a:pt x="682" y="2578"/>
                  </a:lnTo>
                  <a:lnTo>
                    <a:pt x="749" y="2633"/>
                  </a:lnTo>
                  <a:lnTo>
                    <a:pt x="820" y="2684"/>
                  </a:lnTo>
                  <a:lnTo>
                    <a:pt x="895" y="2731"/>
                  </a:lnTo>
                  <a:lnTo>
                    <a:pt x="972" y="2772"/>
                  </a:lnTo>
                  <a:lnTo>
                    <a:pt x="1053" y="2809"/>
                  </a:lnTo>
                  <a:lnTo>
                    <a:pt x="1136" y="2841"/>
                  </a:lnTo>
                  <a:lnTo>
                    <a:pt x="1222" y="2867"/>
                  </a:lnTo>
                  <a:lnTo>
                    <a:pt x="1310" y="2886"/>
                  </a:lnTo>
                  <a:lnTo>
                    <a:pt x="1400" y="2902"/>
                  </a:lnTo>
                  <a:lnTo>
                    <a:pt x="1400" y="2688"/>
                  </a:lnTo>
                  <a:lnTo>
                    <a:pt x="1736" y="2688"/>
                  </a:lnTo>
                  <a:lnTo>
                    <a:pt x="1736" y="2902"/>
                  </a:lnTo>
                  <a:lnTo>
                    <a:pt x="1826" y="2886"/>
                  </a:lnTo>
                  <a:lnTo>
                    <a:pt x="1914" y="2867"/>
                  </a:lnTo>
                  <a:lnTo>
                    <a:pt x="2000" y="2841"/>
                  </a:lnTo>
                  <a:lnTo>
                    <a:pt x="2083" y="2809"/>
                  </a:lnTo>
                  <a:lnTo>
                    <a:pt x="2164" y="2772"/>
                  </a:lnTo>
                  <a:lnTo>
                    <a:pt x="2241" y="2731"/>
                  </a:lnTo>
                  <a:lnTo>
                    <a:pt x="2316" y="2684"/>
                  </a:lnTo>
                  <a:lnTo>
                    <a:pt x="2387" y="2633"/>
                  </a:lnTo>
                  <a:lnTo>
                    <a:pt x="2454" y="2578"/>
                  </a:lnTo>
                  <a:lnTo>
                    <a:pt x="2518" y="2518"/>
                  </a:lnTo>
                  <a:lnTo>
                    <a:pt x="2578" y="2454"/>
                  </a:lnTo>
                  <a:lnTo>
                    <a:pt x="2633" y="2387"/>
                  </a:lnTo>
                  <a:lnTo>
                    <a:pt x="2684" y="2316"/>
                  </a:lnTo>
                  <a:lnTo>
                    <a:pt x="2731" y="2241"/>
                  </a:lnTo>
                  <a:lnTo>
                    <a:pt x="2772" y="2164"/>
                  </a:lnTo>
                  <a:lnTo>
                    <a:pt x="2809" y="2083"/>
                  </a:lnTo>
                  <a:lnTo>
                    <a:pt x="2841" y="2000"/>
                  </a:lnTo>
                  <a:lnTo>
                    <a:pt x="2867" y="1914"/>
                  </a:lnTo>
                  <a:lnTo>
                    <a:pt x="2886" y="1826"/>
                  </a:lnTo>
                  <a:lnTo>
                    <a:pt x="2902" y="1736"/>
                  </a:lnTo>
                  <a:lnTo>
                    <a:pt x="2688" y="1736"/>
                  </a:lnTo>
                  <a:lnTo>
                    <a:pt x="2688" y="1400"/>
                  </a:lnTo>
                  <a:lnTo>
                    <a:pt x="2902" y="1400"/>
                  </a:lnTo>
                  <a:lnTo>
                    <a:pt x="2886" y="1310"/>
                  </a:lnTo>
                  <a:lnTo>
                    <a:pt x="2867" y="1222"/>
                  </a:lnTo>
                  <a:lnTo>
                    <a:pt x="2841" y="1136"/>
                  </a:lnTo>
                  <a:lnTo>
                    <a:pt x="2809" y="1053"/>
                  </a:lnTo>
                  <a:lnTo>
                    <a:pt x="2772" y="972"/>
                  </a:lnTo>
                  <a:lnTo>
                    <a:pt x="2731" y="895"/>
                  </a:lnTo>
                  <a:lnTo>
                    <a:pt x="2684" y="820"/>
                  </a:lnTo>
                  <a:lnTo>
                    <a:pt x="2633" y="749"/>
                  </a:lnTo>
                  <a:lnTo>
                    <a:pt x="2578" y="682"/>
                  </a:lnTo>
                  <a:lnTo>
                    <a:pt x="2518" y="618"/>
                  </a:lnTo>
                  <a:lnTo>
                    <a:pt x="2454" y="558"/>
                  </a:lnTo>
                  <a:lnTo>
                    <a:pt x="2387" y="503"/>
                  </a:lnTo>
                  <a:lnTo>
                    <a:pt x="2316" y="452"/>
                  </a:lnTo>
                  <a:lnTo>
                    <a:pt x="2241" y="405"/>
                  </a:lnTo>
                  <a:lnTo>
                    <a:pt x="2164" y="364"/>
                  </a:lnTo>
                  <a:lnTo>
                    <a:pt x="2083" y="327"/>
                  </a:lnTo>
                  <a:lnTo>
                    <a:pt x="2000" y="295"/>
                  </a:lnTo>
                  <a:lnTo>
                    <a:pt x="1914" y="269"/>
                  </a:lnTo>
                  <a:lnTo>
                    <a:pt x="1826" y="250"/>
                  </a:lnTo>
                  <a:lnTo>
                    <a:pt x="1736" y="234"/>
                  </a:lnTo>
                  <a:lnTo>
                    <a:pt x="1736" y="448"/>
                  </a:lnTo>
                  <a:lnTo>
                    <a:pt x="1400" y="448"/>
                  </a:lnTo>
                  <a:lnTo>
                    <a:pt x="1400" y="234"/>
                  </a:lnTo>
                  <a:close/>
                  <a:moveTo>
                    <a:pt x="1568" y="0"/>
                  </a:moveTo>
                  <a:lnTo>
                    <a:pt x="1671" y="3"/>
                  </a:lnTo>
                  <a:lnTo>
                    <a:pt x="1772" y="13"/>
                  </a:lnTo>
                  <a:lnTo>
                    <a:pt x="1872" y="29"/>
                  </a:lnTo>
                  <a:lnTo>
                    <a:pt x="1969" y="52"/>
                  </a:lnTo>
                  <a:lnTo>
                    <a:pt x="2063" y="80"/>
                  </a:lnTo>
                  <a:lnTo>
                    <a:pt x="2156" y="114"/>
                  </a:lnTo>
                  <a:lnTo>
                    <a:pt x="2245" y="153"/>
                  </a:lnTo>
                  <a:lnTo>
                    <a:pt x="2332" y="198"/>
                  </a:lnTo>
                  <a:lnTo>
                    <a:pt x="2414" y="247"/>
                  </a:lnTo>
                  <a:lnTo>
                    <a:pt x="2494" y="303"/>
                  </a:lnTo>
                  <a:lnTo>
                    <a:pt x="2570" y="361"/>
                  </a:lnTo>
                  <a:lnTo>
                    <a:pt x="2642" y="425"/>
                  </a:lnTo>
                  <a:lnTo>
                    <a:pt x="2711" y="494"/>
                  </a:lnTo>
                  <a:lnTo>
                    <a:pt x="2775" y="566"/>
                  </a:lnTo>
                  <a:lnTo>
                    <a:pt x="2833" y="642"/>
                  </a:lnTo>
                  <a:lnTo>
                    <a:pt x="2889" y="722"/>
                  </a:lnTo>
                  <a:lnTo>
                    <a:pt x="2938" y="804"/>
                  </a:lnTo>
                  <a:lnTo>
                    <a:pt x="2983" y="891"/>
                  </a:lnTo>
                  <a:lnTo>
                    <a:pt x="3022" y="980"/>
                  </a:lnTo>
                  <a:lnTo>
                    <a:pt x="3056" y="1073"/>
                  </a:lnTo>
                  <a:lnTo>
                    <a:pt x="3084" y="1167"/>
                  </a:lnTo>
                  <a:lnTo>
                    <a:pt x="3107" y="1264"/>
                  </a:lnTo>
                  <a:lnTo>
                    <a:pt x="3123" y="1364"/>
                  </a:lnTo>
                  <a:lnTo>
                    <a:pt x="3133" y="1465"/>
                  </a:lnTo>
                  <a:lnTo>
                    <a:pt x="3136" y="1568"/>
                  </a:lnTo>
                  <a:lnTo>
                    <a:pt x="3133" y="1671"/>
                  </a:lnTo>
                  <a:lnTo>
                    <a:pt x="3123" y="1772"/>
                  </a:lnTo>
                  <a:lnTo>
                    <a:pt x="3107" y="1872"/>
                  </a:lnTo>
                  <a:lnTo>
                    <a:pt x="3084" y="1969"/>
                  </a:lnTo>
                  <a:lnTo>
                    <a:pt x="3056" y="2063"/>
                  </a:lnTo>
                  <a:lnTo>
                    <a:pt x="3022" y="2156"/>
                  </a:lnTo>
                  <a:lnTo>
                    <a:pt x="2983" y="2245"/>
                  </a:lnTo>
                  <a:lnTo>
                    <a:pt x="2938" y="2332"/>
                  </a:lnTo>
                  <a:lnTo>
                    <a:pt x="2889" y="2414"/>
                  </a:lnTo>
                  <a:lnTo>
                    <a:pt x="2833" y="2494"/>
                  </a:lnTo>
                  <a:lnTo>
                    <a:pt x="2775" y="2570"/>
                  </a:lnTo>
                  <a:lnTo>
                    <a:pt x="2711" y="2642"/>
                  </a:lnTo>
                  <a:lnTo>
                    <a:pt x="2642" y="2711"/>
                  </a:lnTo>
                  <a:lnTo>
                    <a:pt x="2570" y="2775"/>
                  </a:lnTo>
                  <a:lnTo>
                    <a:pt x="2494" y="2833"/>
                  </a:lnTo>
                  <a:lnTo>
                    <a:pt x="2414" y="2889"/>
                  </a:lnTo>
                  <a:lnTo>
                    <a:pt x="2332" y="2938"/>
                  </a:lnTo>
                  <a:lnTo>
                    <a:pt x="2245" y="2983"/>
                  </a:lnTo>
                  <a:lnTo>
                    <a:pt x="2156" y="3022"/>
                  </a:lnTo>
                  <a:lnTo>
                    <a:pt x="2063" y="3056"/>
                  </a:lnTo>
                  <a:lnTo>
                    <a:pt x="1969" y="3084"/>
                  </a:lnTo>
                  <a:lnTo>
                    <a:pt x="1872" y="3107"/>
                  </a:lnTo>
                  <a:lnTo>
                    <a:pt x="1772" y="3123"/>
                  </a:lnTo>
                  <a:lnTo>
                    <a:pt x="1671" y="3133"/>
                  </a:lnTo>
                  <a:lnTo>
                    <a:pt x="1568" y="3136"/>
                  </a:lnTo>
                  <a:lnTo>
                    <a:pt x="1465" y="3133"/>
                  </a:lnTo>
                  <a:lnTo>
                    <a:pt x="1364" y="3123"/>
                  </a:lnTo>
                  <a:lnTo>
                    <a:pt x="1264" y="3107"/>
                  </a:lnTo>
                  <a:lnTo>
                    <a:pt x="1167" y="3084"/>
                  </a:lnTo>
                  <a:lnTo>
                    <a:pt x="1073" y="3056"/>
                  </a:lnTo>
                  <a:lnTo>
                    <a:pt x="980" y="3022"/>
                  </a:lnTo>
                  <a:lnTo>
                    <a:pt x="891" y="2983"/>
                  </a:lnTo>
                  <a:lnTo>
                    <a:pt x="804" y="2938"/>
                  </a:lnTo>
                  <a:lnTo>
                    <a:pt x="722" y="2889"/>
                  </a:lnTo>
                  <a:lnTo>
                    <a:pt x="642" y="2833"/>
                  </a:lnTo>
                  <a:lnTo>
                    <a:pt x="566" y="2775"/>
                  </a:lnTo>
                  <a:lnTo>
                    <a:pt x="494" y="2711"/>
                  </a:lnTo>
                  <a:lnTo>
                    <a:pt x="425" y="2642"/>
                  </a:lnTo>
                  <a:lnTo>
                    <a:pt x="361" y="2570"/>
                  </a:lnTo>
                  <a:lnTo>
                    <a:pt x="303" y="2494"/>
                  </a:lnTo>
                  <a:lnTo>
                    <a:pt x="247" y="2414"/>
                  </a:lnTo>
                  <a:lnTo>
                    <a:pt x="198" y="2332"/>
                  </a:lnTo>
                  <a:lnTo>
                    <a:pt x="153" y="2245"/>
                  </a:lnTo>
                  <a:lnTo>
                    <a:pt x="114" y="2156"/>
                  </a:lnTo>
                  <a:lnTo>
                    <a:pt x="80" y="2063"/>
                  </a:lnTo>
                  <a:lnTo>
                    <a:pt x="52" y="1969"/>
                  </a:lnTo>
                  <a:lnTo>
                    <a:pt x="29" y="1872"/>
                  </a:lnTo>
                  <a:lnTo>
                    <a:pt x="13" y="1772"/>
                  </a:lnTo>
                  <a:lnTo>
                    <a:pt x="3" y="1671"/>
                  </a:lnTo>
                  <a:lnTo>
                    <a:pt x="0" y="1568"/>
                  </a:lnTo>
                  <a:lnTo>
                    <a:pt x="3" y="1465"/>
                  </a:lnTo>
                  <a:lnTo>
                    <a:pt x="13" y="1364"/>
                  </a:lnTo>
                  <a:lnTo>
                    <a:pt x="29" y="1264"/>
                  </a:lnTo>
                  <a:lnTo>
                    <a:pt x="52" y="1167"/>
                  </a:lnTo>
                  <a:lnTo>
                    <a:pt x="80" y="1073"/>
                  </a:lnTo>
                  <a:lnTo>
                    <a:pt x="114" y="980"/>
                  </a:lnTo>
                  <a:lnTo>
                    <a:pt x="153" y="891"/>
                  </a:lnTo>
                  <a:lnTo>
                    <a:pt x="198" y="804"/>
                  </a:lnTo>
                  <a:lnTo>
                    <a:pt x="247" y="722"/>
                  </a:lnTo>
                  <a:lnTo>
                    <a:pt x="303" y="642"/>
                  </a:lnTo>
                  <a:lnTo>
                    <a:pt x="361" y="566"/>
                  </a:lnTo>
                  <a:lnTo>
                    <a:pt x="425" y="494"/>
                  </a:lnTo>
                  <a:lnTo>
                    <a:pt x="494" y="425"/>
                  </a:lnTo>
                  <a:lnTo>
                    <a:pt x="566" y="361"/>
                  </a:lnTo>
                  <a:lnTo>
                    <a:pt x="642" y="303"/>
                  </a:lnTo>
                  <a:lnTo>
                    <a:pt x="722" y="247"/>
                  </a:lnTo>
                  <a:lnTo>
                    <a:pt x="804" y="198"/>
                  </a:lnTo>
                  <a:lnTo>
                    <a:pt x="891" y="153"/>
                  </a:lnTo>
                  <a:lnTo>
                    <a:pt x="980" y="114"/>
                  </a:lnTo>
                  <a:lnTo>
                    <a:pt x="1073" y="80"/>
                  </a:lnTo>
                  <a:lnTo>
                    <a:pt x="1167" y="52"/>
                  </a:lnTo>
                  <a:lnTo>
                    <a:pt x="1264" y="29"/>
                  </a:lnTo>
                  <a:lnTo>
                    <a:pt x="1364" y="13"/>
                  </a:lnTo>
                  <a:lnTo>
                    <a:pt x="1465" y="3"/>
                  </a:lnTo>
                  <a:lnTo>
                    <a:pt x="15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49" name="Freeform 16"/>
            <p:cNvSpPr>
              <a:spLocks/>
            </p:cNvSpPr>
            <p:nvPr/>
          </p:nvSpPr>
          <p:spPr bwMode="auto">
            <a:xfrm>
              <a:off x="1597484" y="2924266"/>
              <a:ext cx="44450" cy="41275"/>
            </a:xfrm>
            <a:custGeom>
              <a:avLst/>
              <a:gdLst/>
              <a:ahLst/>
              <a:cxnLst>
                <a:cxn ang="0">
                  <a:pos x="146" y="0"/>
                </a:cxn>
                <a:cxn ang="0">
                  <a:pos x="202" y="96"/>
                </a:cxn>
                <a:cxn ang="0">
                  <a:pos x="57" y="181"/>
                </a:cxn>
                <a:cxn ang="0">
                  <a:pos x="0" y="83"/>
                </a:cxn>
                <a:cxn ang="0">
                  <a:pos x="146" y="0"/>
                </a:cxn>
              </a:cxnLst>
              <a:rect l="0" t="0" r="r" b="b"/>
              <a:pathLst>
                <a:path w="202" h="181">
                  <a:moveTo>
                    <a:pt x="146" y="0"/>
                  </a:moveTo>
                  <a:lnTo>
                    <a:pt x="202" y="96"/>
                  </a:lnTo>
                  <a:lnTo>
                    <a:pt x="57" y="181"/>
                  </a:lnTo>
                  <a:lnTo>
                    <a:pt x="0" y="83"/>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0" name="Freeform 17"/>
            <p:cNvSpPr>
              <a:spLocks/>
            </p:cNvSpPr>
            <p:nvPr/>
          </p:nvSpPr>
          <p:spPr bwMode="auto">
            <a:xfrm>
              <a:off x="2070559" y="2651216"/>
              <a:ext cx="44450" cy="41275"/>
            </a:xfrm>
            <a:custGeom>
              <a:avLst/>
              <a:gdLst/>
              <a:ahLst/>
              <a:cxnLst>
                <a:cxn ang="0">
                  <a:pos x="145" y="0"/>
                </a:cxn>
                <a:cxn ang="0">
                  <a:pos x="202" y="98"/>
                </a:cxn>
                <a:cxn ang="0">
                  <a:pos x="56" y="181"/>
                </a:cxn>
                <a:cxn ang="0">
                  <a:pos x="0" y="85"/>
                </a:cxn>
                <a:cxn ang="0">
                  <a:pos x="145" y="0"/>
                </a:cxn>
              </a:cxnLst>
              <a:rect l="0" t="0" r="r" b="b"/>
              <a:pathLst>
                <a:path w="202" h="181">
                  <a:moveTo>
                    <a:pt x="145" y="0"/>
                  </a:moveTo>
                  <a:lnTo>
                    <a:pt x="202" y="98"/>
                  </a:lnTo>
                  <a:lnTo>
                    <a:pt x="56" y="181"/>
                  </a:lnTo>
                  <a:lnTo>
                    <a:pt x="0" y="85"/>
                  </a:lnTo>
                  <a:lnTo>
                    <a:pt x="1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1" name="Freeform 18"/>
            <p:cNvSpPr>
              <a:spLocks/>
            </p:cNvSpPr>
            <p:nvPr/>
          </p:nvSpPr>
          <p:spPr bwMode="auto">
            <a:xfrm>
              <a:off x="1699084" y="3022691"/>
              <a:ext cx="41275" cy="44450"/>
            </a:xfrm>
            <a:custGeom>
              <a:avLst/>
              <a:gdLst/>
              <a:ahLst/>
              <a:cxnLst>
                <a:cxn ang="0">
                  <a:pos x="85" y="0"/>
                </a:cxn>
                <a:cxn ang="0">
                  <a:pos x="181" y="56"/>
                </a:cxn>
                <a:cxn ang="0">
                  <a:pos x="98" y="202"/>
                </a:cxn>
                <a:cxn ang="0">
                  <a:pos x="0" y="145"/>
                </a:cxn>
                <a:cxn ang="0">
                  <a:pos x="85" y="0"/>
                </a:cxn>
              </a:cxnLst>
              <a:rect l="0" t="0" r="r" b="b"/>
              <a:pathLst>
                <a:path w="181" h="202">
                  <a:moveTo>
                    <a:pt x="85" y="0"/>
                  </a:moveTo>
                  <a:lnTo>
                    <a:pt x="181" y="56"/>
                  </a:lnTo>
                  <a:lnTo>
                    <a:pt x="98" y="202"/>
                  </a:lnTo>
                  <a:lnTo>
                    <a:pt x="0" y="145"/>
                  </a:lnTo>
                  <a:lnTo>
                    <a:pt x="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2" name="Freeform 19"/>
            <p:cNvSpPr>
              <a:spLocks/>
            </p:cNvSpPr>
            <p:nvPr/>
          </p:nvSpPr>
          <p:spPr bwMode="auto">
            <a:xfrm>
              <a:off x="1972134" y="2549616"/>
              <a:ext cx="41275" cy="44450"/>
            </a:xfrm>
            <a:custGeom>
              <a:avLst/>
              <a:gdLst/>
              <a:ahLst/>
              <a:cxnLst>
                <a:cxn ang="0">
                  <a:pos x="83" y="0"/>
                </a:cxn>
                <a:cxn ang="0">
                  <a:pos x="181" y="57"/>
                </a:cxn>
                <a:cxn ang="0">
                  <a:pos x="96" y="202"/>
                </a:cxn>
                <a:cxn ang="0">
                  <a:pos x="0" y="146"/>
                </a:cxn>
                <a:cxn ang="0">
                  <a:pos x="83" y="0"/>
                </a:cxn>
              </a:cxnLst>
              <a:rect l="0" t="0" r="r" b="b"/>
              <a:pathLst>
                <a:path w="181" h="202">
                  <a:moveTo>
                    <a:pt x="83" y="0"/>
                  </a:moveTo>
                  <a:lnTo>
                    <a:pt x="181" y="57"/>
                  </a:lnTo>
                  <a:lnTo>
                    <a:pt x="96" y="202"/>
                  </a:lnTo>
                  <a:lnTo>
                    <a:pt x="0" y="146"/>
                  </a:lnTo>
                  <a:lnTo>
                    <a:pt x="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3" name="Freeform 20"/>
            <p:cNvSpPr>
              <a:spLocks/>
            </p:cNvSpPr>
            <p:nvPr/>
          </p:nvSpPr>
          <p:spPr bwMode="auto">
            <a:xfrm>
              <a:off x="1972134" y="3022691"/>
              <a:ext cx="41275" cy="44450"/>
            </a:xfrm>
            <a:custGeom>
              <a:avLst/>
              <a:gdLst/>
              <a:ahLst/>
              <a:cxnLst>
                <a:cxn ang="0">
                  <a:pos x="96" y="0"/>
                </a:cxn>
                <a:cxn ang="0">
                  <a:pos x="181" y="145"/>
                </a:cxn>
                <a:cxn ang="0">
                  <a:pos x="83" y="202"/>
                </a:cxn>
                <a:cxn ang="0">
                  <a:pos x="0" y="56"/>
                </a:cxn>
                <a:cxn ang="0">
                  <a:pos x="96" y="0"/>
                </a:cxn>
              </a:cxnLst>
              <a:rect l="0" t="0" r="r" b="b"/>
              <a:pathLst>
                <a:path w="181" h="202">
                  <a:moveTo>
                    <a:pt x="96" y="0"/>
                  </a:moveTo>
                  <a:lnTo>
                    <a:pt x="181" y="145"/>
                  </a:lnTo>
                  <a:lnTo>
                    <a:pt x="83" y="202"/>
                  </a:lnTo>
                  <a:lnTo>
                    <a:pt x="0" y="56"/>
                  </a:ln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4" name="Freeform 21"/>
            <p:cNvSpPr>
              <a:spLocks/>
            </p:cNvSpPr>
            <p:nvPr/>
          </p:nvSpPr>
          <p:spPr bwMode="auto">
            <a:xfrm>
              <a:off x="1699084" y="2549616"/>
              <a:ext cx="41275" cy="44450"/>
            </a:xfrm>
            <a:custGeom>
              <a:avLst/>
              <a:gdLst/>
              <a:ahLst/>
              <a:cxnLst>
                <a:cxn ang="0">
                  <a:pos x="98" y="0"/>
                </a:cxn>
                <a:cxn ang="0">
                  <a:pos x="181" y="146"/>
                </a:cxn>
                <a:cxn ang="0">
                  <a:pos x="85" y="202"/>
                </a:cxn>
                <a:cxn ang="0">
                  <a:pos x="0" y="57"/>
                </a:cxn>
                <a:cxn ang="0">
                  <a:pos x="98" y="0"/>
                </a:cxn>
              </a:cxnLst>
              <a:rect l="0" t="0" r="r" b="b"/>
              <a:pathLst>
                <a:path w="181" h="202">
                  <a:moveTo>
                    <a:pt x="98" y="0"/>
                  </a:moveTo>
                  <a:lnTo>
                    <a:pt x="181" y="146"/>
                  </a:lnTo>
                  <a:lnTo>
                    <a:pt x="85" y="202"/>
                  </a:lnTo>
                  <a:lnTo>
                    <a:pt x="0" y="57"/>
                  </a:lnTo>
                  <a:lnTo>
                    <a:pt x="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5" name="Freeform 22"/>
            <p:cNvSpPr>
              <a:spLocks/>
            </p:cNvSpPr>
            <p:nvPr/>
          </p:nvSpPr>
          <p:spPr bwMode="auto">
            <a:xfrm>
              <a:off x="2070559" y="2924266"/>
              <a:ext cx="44450" cy="41275"/>
            </a:xfrm>
            <a:custGeom>
              <a:avLst/>
              <a:gdLst/>
              <a:ahLst/>
              <a:cxnLst>
                <a:cxn ang="0">
                  <a:pos x="56" y="0"/>
                </a:cxn>
                <a:cxn ang="0">
                  <a:pos x="202" y="83"/>
                </a:cxn>
                <a:cxn ang="0">
                  <a:pos x="145" y="181"/>
                </a:cxn>
                <a:cxn ang="0">
                  <a:pos x="0" y="96"/>
                </a:cxn>
                <a:cxn ang="0">
                  <a:pos x="56" y="0"/>
                </a:cxn>
              </a:cxnLst>
              <a:rect l="0" t="0" r="r" b="b"/>
              <a:pathLst>
                <a:path w="202" h="181">
                  <a:moveTo>
                    <a:pt x="56" y="0"/>
                  </a:moveTo>
                  <a:lnTo>
                    <a:pt x="202" y="83"/>
                  </a:lnTo>
                  <a:lnTo>
                    <a:pt x="145" y="181"/>
                  </a:lnTo>
                  <a:lnTo>
                    <a:pt x="0" y="96"/>
                  </a:lnTo>
                  <a:lnTo>
                    <a:pt x="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6" name="Freeform 23"/>
            <p:cNvSpPr>
              <a:spLocks/>
            </p:cNvSpPr>
            <p:nvPr/>
          </p:nvSpPr>
          <p:spPr bwMode="auto">
            <a:xfrm>
              <a:off x="1597484" y="2651216"/>
              <a:ext cx="44450" cy="41275"/>
            </a:xfrm>
            <a:custGeom>
              <a:avLst/>
              <a:gdLst/>
              <a:ahLst/>
              <a:cxnLst>
                <a:cxn ang="0">
                  <a:pos x="57" y="0"/>
                </a:cxn>
                <a:cxn ang="0">
                  <a:pos x="202" y="85"/>
                </a:cxn>
                <a:cxn ang="0">
                  <a:pos x="146" y="181"/>
                </a:cxn>
                <a:cxn ang="0">
                  <a:pos x="0" y="98"/>
                </a:cxn>
                <a:cxn ang="0">
                  <a:pos x="57" y="0"/>
                </a:cxn>
              </a:cxnLst>
              <a:rect l="0" t="0" r="r" b="b"/>
              <a:pathLst>
                <a:path w="202" h="181">
                  <a:moveTo>
                    <a:pt x="57" y="0"/>
                  </a:moveTo>
                  <a:lnTo>
                    <a:pt x="202" y="85"/>
                  </a:lnTo>
                  <a:lnTo>
                    <a:pt x="146" y="181"/>
                  </a:lnTo>
                  <a:lnTo>
                    <a:pt x="0" y="98"/>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57" name="Freeform 24"/>
            <p:cNvSpPr>
              <a:spLocks/>
            </p:cNvSpPr>
            <p:nvPr/>
          </p:nvSpPr>
          <p:spPr bwMode="auto">
            <a:xfrm>
              <a:off x="1730834" y="2603591"/>
              <a:ext cx="163513" cy="242888"/>
            </a:xfrm>
            <a:custGeom>
              <a:avLst/>
              <a:gdLst/>
              <a:ahLst/>
              <a:cxnLst>
                <a:cxn ang="0">
                  <a:pos x="98" y="0"/>
                </a:cxn>
                <a:cxn ang="0">
                  <a:pos x="441" y="595"/>
                </a:cxn>
                <a:cxn ang="0">
                  <a:pos x="441" y="61"/>
                </a:cxn>
                <a:cxn ang="0">
                  <a:pos x="665" y="61"/>
                </a:cxn>
                <a:cxn ang="0">
                  <a:pos x="665" y="776"/>
                </a:cxn>
                <a:cxn ang="0">
                  <a:pos x="684" y="797"/>
                </a:cxn>
                <a:cxn ang="0">
                  <a:pos x="700" y="820"/>
                </a:cxn>
                <a:cxn ang="0">
                  <a:pos x="712" y="845"/>
                </a:cxn>
                <a:cxn ang="0">
                  <a:pos x="718" y="872"/>
                </a:cxn>
                <a:cxn ang="0">
                  <a:pos x="721" y="901"/>
                </a:cxn>
                <a:cxn ang="0">
                  <a:pos x="718" y="931"/>
                </a:cxn>
                <a:cxn ang="0">
                  <a:pos x="710" y="960"/>
                </a:cxn>
                <a:cxn ang="0">
                  <a:pos x="699" y="986"/>
                </a:cxn>
                <a:cxn ang="0">
                  <a:pos x="681" y="1010"/>
                </a:cxn>
                <a:cxn ang="0">
                  <a:pos x="662" y="1029"/>
                </a:cxn>
                <a:cxn ang="0">
                  <a:pos x="638" y="1047"/>
                </a:cxn>
                <a:cxn ang="0">
                  <a:pos x="612" y="1058"/>
                </a:cxn>
                <a:cxn ang="0">
                  <a:pos x="583" y="1066"/>
                </a:cxn>
                <a:cxn ang="0">
                  <a:pos x="553" y="1069"/>
                </a:cxn>
                <a:cxn ang="0">
                  <a:pos x="523" y="1066"/>
                </a:cxn>
                <a:cxn ang="0">
                  <a:pos x="494" y="1058"/>
                </a:cxn>
                <a:cxn ang="0">
                  <a:pos x="468" y="1047"/>
                </a:cxn>
                <a:cxn ang="0">
                  <a:pos x="444" y="1029"/>
                </a:cxn>
                <a:cxn ang="0">
                  <a:pos x="425" y="1010"/>
                </a:cxn>
                <a:cxn ang="0">
                  <a:pos x="407" y="986"/>
                </a:cxn>
                <a:cxn ang="0">
                  <a:pos x="396" y="960"/>
                </a:cxn>
                <a:cxn ang="0">
                  <a:pos x="388" y="931"/>
                </a:cxn>
                <a:cxn ang="0">
                  <a:pos x="385" y="901"/>
                </a:cxn>
                <a:cxn ang="0">
                  <a:pos x="388" y="871"/>
                </a:cxn>
                <a:cxn ang="0">
                  <a:pos x="396" y="842"/>
                </a:cxn>
                <a:cxn ang="0">
                  <a:pos x="409" y="816"/>
                </a:cxn>
                <a:cxn ang="0">
                  <a:pos x="426" y="792"/>
                </a:cxn>
                <a:cxn ang="0">
                  <a:pos x="0" y="56"/>
                </a:cxn>
                <a:cxn ang="0">
                  <a:pos x="98" y="0"/>
                </a:cxn>
              </a:cxnLst>
              <a:rect l="0" t="0" r="r" b="b"/>
              <a:pathLst>
                <a:path w="721" h="1069">
                  <a:moveTo>
                    <a:pt x="98" y="0"/>
                  </a:moveTo>
                  <a:lnTo>
                    <a:pt x="441" y="595"/>
                  </a:lnTo>
                  <a:lnTo>
                    <a:pt x="441" y="61"/>
                  </a:lnTo>
                  <a:lnTo>
                    <a:pt x="665" y="61"/>
                  </a:lnTo>
                  <a:lnTo>
                    <a:pt x="665" y="776"/>
                  </a:lnTo>
                  <a:lnTo>
                    <a:pt x="684" y="797"/>
                  </a:lnTo>
                  <a:lnTo>
                    <a:pt x="700" y="820"/>
                  </a:lnTo>
                  <a:lnTo>
                    <a:pt x="712" y="845"/>
                  </a:lnTo>
                  <a:lnTo>
                    <a:pt x="718" y="872"/>
                  </a:lnTo>
                  <a:lnTo>
                    <a:pt x="721" y="901"/>
                  </a:lnTo>
                  <a:lnTo>
                    <a:pt x="718" y="931"/>
                  </a:lnTo>
                  <a:lnTo>
                    <a:pt x="710" y="960"/>
                  </a:lnTo>
                  <a:lnTo>
                    <a:pt x="699" y="986"/>
                  </a:lnTo>
                  <a:lnTo>
                    <a:pt x="681" y="1010"/>
                  </a:lnTo>
                  <a:lnTo>
                    <a:pt x="662" y="1029"/>
                  </a:lnTo>
                  <a:lnTo>
                    <a:pt x="638" y="1047"/>
                  </a:lnTo>
                  <a:lnTo>
                    <a:pt x="612" y="1058"/>
                  </a:lnTo>
                  <a:lnTo>
                    <a:pt x="583" y="1066"/>
                  </a:lnTo>
                  <a:lnTo>
                    <a:pt x="553" y="1069"/>
                  </a:lnTo>
                  <a:lnTo>
                    <a:pt x="523" y="1066"/>
                  </a:lnTo>
                  <a:lnTo>
                    <a:pt x="494" y="1058"/>
                  </a:lnTo>
                  <a:lnTo>
                    <a:pt x="468" y="1047"/>
                  </a:lnTo>
                  <a:lnTo>
                    <a:pt x="444" y="1029"/>
                  </a:lnTo>
                  <a:lnTo>
                    <a:pt x="425" y="1010"/>
                  </a:lnTo>
                  <a:lnTo>
                    <a:pt x="407" y="986"/>
                  </a:lnTo>
                  <a:lnTo>
                    <a:pt x="396" y="960"/>
                  </a:lnTo>
                  <a:lnTo>
                    <a:pt x="388" y="931"/>
                  </a:lnTo>
                  <a:lnTo>
                    <a:pt x="385" y="901"/>
                  </a:lnTo>
                  <a:lnTo>
                    <a:pt x="388" y="871"/>
                  </a:lnTo>
                  <a:lnTo>
                    <a:pt x="396" y="842"/>
                  </a:lnTo>
                  <a:lnTo>
                    <a:pt x="409" y="816"/>
                  </a:lnTo>
                  <a:lnTo>
                    <a:pt x="426" y="792"/>
                  </a:lnTo>
                  <a:lnTo>
                    <a:pt x="0" y="56"/>
                  </a:lnTo>
                  <a:lnTo>
                    <a:pt x="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58" name="Freeform 74"/>
          <p:cNvSpPr>
            <a:spLocks noEditPoints="1"/>
          </p:cNvSpPr>
          <p:nvPr/>
        </p:nvSpPr>
        <p:spPr bwMode="auto">
          <a:xfrm>
            <a:off x="2338050" y="3397646"/>
            <a:ext cx="227886" cy="273711"/>
          </a:xfrm>
          <a:custGeom>
            <a:avLst/>
            <a:gdLst/>
            <a:ahLst/>
            <a:cxnLst>
              <a:cxn ang="0">
                <a:pos x="1160" y="629"/>
              </a:cxn>
              <a:cxn ang="0">
                <a:pos x="985" y="688"/>
              </a:cxn>
              <a:cxn ang="0">
                <a:pos x="835" y="791"/>
              </a:cxn>
              <a:cxn ang="0">
                <a:pos x="718" y="932"/>
              </a:cxn>
              <a:cxn ang="0">
                <a:pos x="643" y="1099"/>
              </a:cxn>
              <a:cxn ang="0">
                <a:pos x="616" y="1288"/>
              </a:cxn>
              <a:cxn ang="0">
                <a:pos x="643" y="1477"/>
              </a:cxn>
              <a:cxn ang="0">
                <a:pos x="718" y="1645"/>
              </a:cxn>
              <a:cxn ang="0">
                <a:pos x="835" y="1784"/>
              </a:cxn>
              <a:cxn ang="0">
                <a:pos x="985" y="1887"/>
              </a:cxn>
              <a:cxn ang="0">
                <a:pos x="1160" y="1948"/>
              </a:cxn>
              <a:cxn ang="0">
                <a:pos x="1353" y="1957"/>
              </a:cxn>
              <a:cxn ang="0">
                <a:pos x="1536" y="1913"/>
              </a:cxn>
              <a:cxn ang="0">
                <a:pos x="1694" y="1823"/>
              </a:cxn>
              <a:cxn ang="0">
                <a:pos x="1823" y="1695"/>
              </a:cxn>
              <a:cxn ang="0">
                <a:pos x="1914" y="1535"/>
              </a:cxn>
              <a:cxn ang="0">
                <a:pos x="1957" y="1353"/>
              </a:cxn>
              <a:cxn ang="0">
                <a:pos x="1948" y="1161"/>
              </a:cxn>
              <a:cxn ang="0">
                <a:pos x="1888" y="985"/>
              </a:cxn>
              <a:cxn ang="0">
                <a:pos x="1784" y="835"/>
              </a:cxn>
              <a:cxn ang="0">
                <a:pos x="1644" y="719"/>
              </a:cxn>
              <a:cxn ang="0">
                <a:pos x="1477" y="643"/>
              </a:cxn>
              <a:cxn ang="0">
                <a:pos x="1288" y="616"/>
              </a:cxn>
              <a:cxn ang="0">
                <a:pos x="1452" y="11"/>
              </a:cxn>
              <a:cxn ang="0">
                <a:pos x="1694" y="66"/>
              </a:cxn>
              <a:cxn ang="0">
                <a:pos x="1924" y="168"/>
              </a:cxn>
              <a:cxn ang="0">
                <a:pos x="2134" y="317"/>
              </a:cxn>
              <a:cxn ang="0">
                <a:pos x="2314" y="509"/>
              </a:cxn>
              <a:cxn ang="0">
                <a:pos x="2448" y="726"/>
              </a:cxn>
              <a:cxn ang="0">
                <a:pos x="2534" y="961"/>
              </a:cxn>
              <a:cxn ang="0">
                <a:pos x="2574" y="1205"/>
              </a:cxn>
              <a:cxn ang="0">
                <a:pos x="2565" y="1453"/>
              </a:cxn>
              <a:cxn ang="0">
                <a:pos x="2511" y="1694"/>
              </a:cxn>
              <a:cxn ang="0">
                <a:pos x="2409" y="1924"/>
              </a:cxn>
              <a:cxn ang="0">
                <a:pos x="2259" y="2134"/>
              </a:cxn>
              <a:cxn ang="0">
                <a:pos x="377" y="2199"/>
              </a:cxn>
              <a:cxn ang="0">
                <a:pos x="212" y="1997"/>
              </a:cxn>
              <a:cxn ang="0">
                <a:pos x="94" y="1772"/>
              </a:cxn>
              <a:cxn ang="0">
                <a:pos x="24" y="1534"/>
              </a:cxn>
              <a:cxn ang="0">
                <a:pos x="0" y="1288"/>
              </a:cxn>
              <a:cxn ang="0">
                <a:pos x="24" y="1042"/>
              </a:cxn>
              <a:cxn ang="0">
                <a:pos x="94" y="803"/>
              </a:cxn>
              <a:cxn ang="0">
                <a:pos x="212" y="580"/>
              </a:cxn>
              <a:cxn ang="0">
                <a:pos x="377" y="378"/>
              </a:cxn>
              <a:cxn ang="0">
                <a:pos x="579" y="213"/>
              </a:cxn>
              <a:cxn ang="0">
                <a:pos x="804" y="94"/>
              </a:cxn>
              <a:cxn ang="0">
                <a:pos x="1041" y="24"/>
              </a:cxn>
              <a:cxn ang="0">
                <a:pos x="1287" y="0"/>
              </a:cxn>
            </a:cxnLst>
            <a:rect l="0" t="0" r="r" b="b"/>
            <a:pathLst>
              <a:path w="2576" h="3095">
                <a:moveTo>
                  <a:pt x="1288" y="616"/>
                </a:moveTo>
                <a:lnTo>
                  <a:pt x="1223" y="619"/>
                </a:lnTo>
                <a:lnTo>
                  <a:pt x="1160" y="629"/>
                </a:lnTo>
                <a:lnTo>
                  <a:pt x="1099" y="643"/>
                </a:lnTo>
                <a:lnTo>
                  <a:pt x="1040" y="663"/>
                </a:lnTo>
                <a:lnTo>
                  <a:pt x="985" y="688"/>
                </a:lnTo>
                <a:lnTo>
                  <a:pt x="932" y="719"/>
                </a:lnTo>
                <a:lnTo>
                  <a:pt x="882" y="753"/>
                </a:lnTo>
                <a:lnTo>
                  <a:pt x="835" y="791"/>
                </a:lnTo>
                <a:lnTo>
                  <a:pt x="792" y="835"/>
                </a:lnTo>
                <a:lnTo>
                  <a:pt x="753" y="882"/>
                </a:lnTo>
                <a:lnTo>
                  <a:pt x="718" y="932"/>
                </a:lnTo>
                <a:lnTo>
                  <a:pt x="688" y="985"/>
                </a:lnTo>
                <a:lnTo>
                  <a:pt x="662" y="1040"/>
                </a:lnTo>
                <a:lnTo>
                  <a:pt x="643" y="1099"/>
                </a:lnTo>
                <a:lnTo>
                  <a:pt x="628" y="1161"/>
                </a:lnTo>
                <a:lnTo>
                  <a:pt x="619" y="1224"/>
                </a:lnTo>
                <a:lnTo>
                  <a:pt x="616" y="1288"/>
                </a:lnTo>
                <a:lnTo>
                  <a:pt x="619" y="1353"/>
                </a:lnTo>
                <a:lnTo>
                  <a:pt x="628" y="1416"/>
                </a:lnTo>
                <a:lnTo>
                  <a:pt x="643" y="1477"/>
                </a:lnTo>
                <a:lnTo>
                  <a:pt x="662" y="1535"/>
                </a:lnTo>
                <a:lnTo>
                  <a:pt x="688" y="1592"/>
                </a:lnTo>
                <a:lnTo>
                  <a:pt x="718" y="1645"/>
                </a:lnTo>
                <a:lnTo>
                  <a:pt x="753" y="1695"/>
                </a:lnTo>
                <a:lnTo>
                  <a:pt x="792" y="1742"/>
                </a:lnTo>
                <a:lnTo>
                  <a:pt x="835" y="1784"/>
                </a:lnTo>
                <a:lnTo>
                  <a:pt x="882" y="1823"/>
                </a:lnTo>
                <a:lnTo>
                  <a:pt x="932" y="1858"/>
                </a:lnTo>
                <a:lnTo>
                  <a:pt x="985" y="1887"/>
                </a:lnTo>
                <a:lnTo>
                  <a:pt x="1040" y="1913"/>
                </a:lnTo>
                <a:lnTo>
                  <a:pt x="1099" y="1933"/>
                </a:lnTo>
                <a:lnTo>
                  <a:pt x="1160" y="1948"/>
                </a:lnTo>
                <a:lnTo>
                  <a:pt x="1223" y="1957"/>
                </a:lnTo>
                <a:lnTo>
                  <a:pt x="1288" y="1960"/>
                </a:lnTo>
                <a:lnTo>
                  <a:pt x="1353" y="1957"/>
                </a:lnTo>
                <a:lnTo>
                  <a:pt x="1416" y="1948"/>
                </a:lnTo>
                <a:lnTo>
                  <a:pt x="1477" y="1933"/>
                </a:lnTo>
                <a:lnTo>
                  <a:pt x="1536" y="1913"/>
                </a:lnTo>
                <a:lnTo>
                  <a:pt x="1591" y="1887"/>
                </a:lnTo>
                <a:lnTo>
                  <a:pt x="1644" y="1858"/>
                </a:lnTo>
                <a:lnTo>
                  <a:pt x="1694" y="1823"/>
                </a:lnTo>
                <a:lnTo>
                  <a:pt x="1741" y="1784"/>
                </a:lnTo>
                <a:lnTo>
                  <a:pt x="1784" y="1742"/>
                </a:lnTo>
                <a:lnTo>
                  <a:pt x="1823" y="1695"/>
                </a:lnTo>
                <a:lnTo>
                  <a:pt x="1858" y="1645"/>
                </a:lnTo>
                <a:lnTo>
                  <a:pt x="1888" y="1592"/>
                </a:lnTo>
                <a:lnTo>
                  <a:pt x="1914" y="1535"/>
                </a:lnTo>
                <a:lnTo>
                  <a:pt x="1933" y="1477"/>
                </a:lnTo>
                <a:lnTo>
                  <a:pt x="1948" y="1416"/>
                </a:lnTo>
                <a:lnTo>
                  <a:pt x="1957" y="1353"/>
                </a:lnTo>
                <a:lnTo>
                  <a:pt x="1960" y="1288"/>
                </a:lnTo>
                <a:lnTo>
                  <a:pt x="1957" y="1224"/>
                </a:lnTo>
                <a:lnTo>
                  <a:pt x="1948" y="1161"/>
                </a:lnTo>
                <a:lnTo>
                  <a:pt x="1933" y="1099"/>
                </a:lnTo>
                <a:lnTo>
                  <a:pt x="1914" y="1040"/>
                </a:lnTo>
                <a:lnTo>
                  <a:pt x="1888" y="985"/>
                </a:lnTo>
                <a:lnTo>
                  <a:pt x="1858" y="932"/>
                </a:lnTo>
                <a:lnTo>
                  <a:pt x="1823" y="882"/>
                </a:lnTo>
                <a:lnTo>
                  <a:pt x="1784" y="835"/>
                </a:lnTo>
                <a:lnTo>
                  <a:pt x="1741" y="791"/>
                </a:lnTo>
                <a:lnTo>
                  <a:pt x="1694" y="753"/>
                </a:lnTo>
                <a:lnTo>
                  <a:pt x="1644" y="719"/>
                </a:lnTo>
                <a:lnTo>
                  <a:pt x="1591" y="688"/>
                </a:lnTo>
                <a:lnTo>
                  <a:pt x="1536" y="663"/>
                </a:lnTo>
                <a:lnTo>
                  <a:pt x="1477" y="643"/>
                </a:lnTo>
                <a:lnTo>
                  <a:pt x="1416" y="629"/>
                </a:lnTo>
                <a:lnTo>
                  <a:pt x="1353" y="619"/>
                </a:lnTo>
                <a:lnTo>
                  <a:pt x="1288" y="616"/>
                </a:lnTo>
                <a:close/>
                <a:moveTo>
                  <a:pt x="1287" y="0"/>
                </a:moveTo>
                <a:lnTo>
                  <a:pt x="1371" y="3"/>
                </a:lnTo>
                <a:lnTo>
                  <a:pt x="1452" y="11"/>
                </a:lnTo>
                <a:lnTo>
                  <a:pt x="1535" y="24"/>
                </a:lnTo>
                <a:lnTo>
                  <a:pt x="1615" y="42"/>
                </a:lnTo>
                <a:lnTo>
                  <a:pt x="1694" y="66"/>
                </a:lnTo>
                <a:lnTo>
                  <a:pt x="1772" y="94"/>
                </a:lnTo>
                <a:lnTo>
                  <a:pt x="1849" y="128"/>
                </a:lnTo>
                <a:lnTo>
                  <a:pt x="1924" y="168"/>
                </a:lnTo>
                <a:lnTo>
                  <a:pt x="1997" y="213"/>
                </a:lnTo>
                <a:lnTo>
                  <a:pt x="2067" y="261"/>
                </a:lnTo>
                <a:lnTo>
                  <a:pt x="2134" y="317"/>
                </a:lnTo>
                <a:lnTo>
                  <a:pt x="2199" y="378"/>
                </a:lnTo>
                <a:lnTo>
                  <a:pt x="2259" y="442"/>
                </a:lnTo>
                <a:lnTo>
                  <a:pt x="2314" y="509"/>
                </a:lnTo>
                <a:lnTo>
                  <a:pt x="2364" y="580"/>
                </a:lnTo>
                <a:lnTo>
                  <a:pt x="2409" y="651"/>
                </a:lnTo>
                <a:lnTo>
                  <a:pt x="2448" y="726"/>
                </a:lnTo>
                <a:lnTo>
                  <a:pt x="2482" y="803"/>
                </a:lnTo>
                <a:lnTo>
                  <a:pt x="2511" y="882"/>
                </a:lnTo>
                <a:lnTo>
                  <a:pt x="2534" y="961"/>
                </a:lnTo>
                <a:lnTo>
                  <a:pt x="2552" y="1042"/>
                </a:lnTo>
                <a:lnTo>
                  <a:pt x="2565" y="1124"/>
                </a:lnTo>
                <a:lnTo>
                  <a:pt x="2574" y="1205"/>
                </a:lnTo>
                <a:lnTo>
                  <a:pt x="2576" y="1288"/>
                </a:lnTo>
                <a:lnTo>
                  <a:pt x="2574" y="1370"/>
                </a:lnTo>
                <a:lnTo>
                  <a:pt x="2565" y="1453"/>
                </a:lnTo>
                <a:lnTo>
                  <a:pt x="2552" y="1534"/>
                </a:lnTo>
                <a:lnTo>
                  <a:pt x="2534" y="1615"/>
                </a:lnTo>
                <a:lnTo>
                  <a:pt x="2511" y="1694"/>
                </a:lnTo>
                <a:lnTo>
                  <a:pt x="2482" y="1772"/>
                </a:lnTo>
                <a:lnTo>
                  <a:pt x="2448" y="1849"/>
                </a:lnTo>
                <a:lnTo>
                  <a:pt x="2409" y="1924"/>
                </a:lnTo>
                <a:lnTo>
                  <a:pt x="2364" y="1997"/>
                </a:lnTo>
                <a:lnTo>
                  <a:pt x="2314" y="2067"/>
                </a:lnTo>
                <a:lnTo>
                  <a:pt x="2259" y="2134"/>
                </a:lnTo>
                <a:lnTo>
                  <a:pt x="2199" y="2199"/>
                </a:lnTo>
                <a:lnTo>
                  <a:pt x="1288" y="3095"/>
                </a:lnTo>
                <a:lnTo>
                  <a:pt x="377" y="2199"/>
                </a:lnTo>
                <a:lnTo>
                  <a:pt x="317" y="2134"/>
                </a:lnTo>
                <a:lnTo>
                  <a:pt x="262" y="2067"/>
                </a:lnTo>
                <a:lnTo>
                  <a:pt x="212" y="1997"/>
                </a:lnTo>
                <a:lnTo>
                  <a:pt x="167" y="1924"/>
                </a:lnTo>
                <a:lnTo>
                  <a:pt x="128" y="1849"/>
                </a:lnTo>
                <a:lnTo>
                  <a:pt x="94" y="1772"/>
                </a:lnTo>
                <a:lnTo>
                  <a:pt x="65" y="1694"/>
                </a:lnTo>
                <a:lnTo>
                  <a:pt x="42" y="1615"/>
                </a:lnTo>
                <a:lnTo>
                  <a:pt x="24" y="1534"/>
                </a:lnTo>
                <a:lnTo>
                  <a:pt x="11" y="1453"/>
                </a:lnTo>
                <a:lnTo>
                  <a:pt x="2" y="1370"/>
                </a:lnTo>
                <a:lnTo>
                  <a:pt x="0" y="1288"/>
                </a:lnTo>
                <a:lnTo>
                  <a:pt x="2" y="1205"/>
                </a:lnTo>
                <a:lnTo>
                  <a:pt x="11" y="1124"/>
                </a:lnTo>
                <a:lnTo>
                  <a:pt x="24" y="1042"/>
                </a:lnTo>
                <a:lnTo>
                  <a:pt x="42" y="961"/>
                </a:lnTo>
                <a:lnTo>
                  <a:pt x="65" y="882"/>
                </a:lnTo>
                <a:lnTo>
                  <a:pt x="94" y="803"/>
                </a:lnTo>
                <a:lnTo>
                  <a:pt x="128" y="726"/>
                </a:lnTo>
                <a:lnTo>
                  <a:pt x="167" y="651"/>
                </a:lnTo>
                <a:lnTo>
                  <a:pt x="212" y="580"/>
                </a:lnTo>
                <a:lnTo>
                  <a:pt x="262" y="509"/>
                </a:lnTo>
                <a:lnTo>
                  <a:pt x="317" y="442"/>
                </a:lnTo>
                <a:lnTo>
                  <a:pt x="377" y="378"/>
                </a:lnTo>
                <a:lnTo>
                  <a:pt x="442" y="317"/>
                </a:lnTo>
                <a:lnTo>
                  <a:pt x="509" y="261"/>
                </a:lnTo>
                <a:lnTo>
                  <a:pt x="579" y="213"/>
                </a:lnTo>
                <a:lnTo>
                  <a:pt x="652" y="168"/>
                </a:lnTo>
                <a:lnTo>
                  <a:pt x="727" y="128"/>
                </a:lnTo>
                <a:lnTo>
                  <a:pt x="804" y="94"/>
                </a:lnTo>
                <a:lnTo>
                  <a:pt x="882" y="66"/>
                </a:lnTo>
                <a:lnTo>
                  <a:pt x="961" y="42"/>
                </a:lnTo>
                <a:lnTo>
                  <a:pt x="1041" y="24"/>
                </a:lnTo>
                <a:lnTo>
                  <a:pt x="1124" y="11"/>
                </a:lnTo>
                <a:lnTo>
                  <a:pt x="1205" y="3"/>
                </a:lnTo>
                <a:lnTo>
                  <a:pt x="1287" y="0"/>
                </a:lnTo>
                <a:close/>
              </a:path>
            </a:pathLst>
          </a:custGeom>
          <a:solidFill>
            <a:srgbClr val="00338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59" name="Gruppieren 58"/>
          <p:cNvGrpSpPr/>
          <p:nvPr/>
        </p:nvGrpSpPr>
        <p:grpSpPr>
          <a:xfrm>
            <a:off x="2329869" y="3110241"/>
            <a:ext cx="244247" cy="244247"/>
            <a:chOff x="1500646" y="2452778"/>
            <a:chExt cx="711200" cy="711200"/>
          </a:xfrm>
          <a:solidFill>
            <a:srgbClr val="00338D"/>
          </a:solidFill>
        </p:grpSpPr>
        <p:sp>
          <p:nvSpPr>
            <p:cNvPr id="60" name="Freeform 15"/>
            <p:cNvSpPr>
              <a:spLocks noEditPoints="1"/>
            </p:cNvSpPr>
            <p:nvPr/>
          </p:nvSpPr>
          <p:spPr bwMode="auto">
            <a:xfrm>
              <a:off x="1500646" y="2452778"/>
              <a:ext cx="711200" cy="711200"/>
            </a:xfrm>
            <a:custGeom>
              <a:avLst/>
              <a:gdLst/>
              <a:ahLst/>
              <a:cxnLst>
                <a:cxn ang="0">
                  <a:pos x="1136" y="295"/>
                </a:cxn>
                <a:cxn ang="0">
                  <a:pos x="820" y="452"/>
                </a:cxn>
                <a:cxn ang="0">
                  <a:pos x="558" y="682"/>
                </a:cxn>
                <a:cxn ang="0">
                  <a:pos x="364" y="972"/>
                </a:cxn>
                <a:cxn ang="0">
                  <a:pos x="250" y="1310"/>
                </a:cxn>
                <a:cxn ang="0">
                  <a:pos x="234" y="1736"/>
                </a:cxn>
                <a:cxn ang="0">
                  <a:pos x="327" y="2083"/>
                </a:cxn>
                <a:cxn ang="0">
                  <a:pos x="503" y="2387"/>
                </a:cxn>
                <a:cxn ang="0">
                  <a:pos x="749" y="2633"/>
                </a:cxn>
                <a:cxn ang="0">
                  <a:pos x="1053" y="2809"/>
                </a:cxn>
                <a:cxn ang="0">
                  <a:pos x="1400" y="2902"/>
                </a:cxn>
                <a:cxn ang="0">
                  <a:pos x="1826" y="2886"/>
                </a:cxn>
                <a:cxn ang="0">
                  <a:pos x="2164" y="2772"/>
                </a:cxn>
                <a:cxn ang="0">
                  <a:pos x="2454" y="2578"/>
                </a:cxn>
                <a:cxn ang="0">
                  <a:pos x="2684" y="2316"/>
                </a:cxn>
                <a:cxn ang="0">
                  <a:pos x="2841" y="2000"/>
                </a:cxn>
                <a:cxn ang="0">
                  <a:pos x="2688" y="1736"/>
                </a:cxn>
                <a:cxn ang="0">
                  <a:pos x="2867" y="1222"/>
                </a:cxn>
                <a:cxn ang="0">
                  <a:pos x="2731" y="895"/>
                </a:cxn>
                <a:cxn ang="0">
                  <a:pos x="2518" y="618"/>
                </a:cxn>
                <a:cxn ang="0">
                  <a:pos x="2241" y="405"/>
                </a:cxn>
                <a:cxn ang="0">
                  <a:pos x="1914" y="269"/>
                </a:cxn>
                <a:cxn ang="0">
                  <a:pos x="1400" y="448"/>
                </a:cxn>
                <a:cxn ang="0">
                  <a:pos x="1772" y="13"/>
                </a:cxn>
                <a:cxn ang="0">
                  <a:pos x="2156" y="114"/>
                </a:cxn>
                <a:cxn ang="0">
                  <a:pos x="2494" y="303"/>
                </a:cxn>
                <a:cxn ang="0">
                  <a:pos x="2775" y="566"/>
                </a:cxn>
                <a:cxn ang="0">
                  <a:pos x="2983" y="891"/>
                </a:cxn>
                <a:cxn ang="0">
                  <a:pos x="3107" y="1264"/>
                </a:cxn>
                <a:cxn ang="0">
                  <a:pos x="3133" y="1671"/>
                </a:cxn>
                <a:cxn ang="0">
                  <a:pos x="3056" y="2063"/>
                </a:cxn>
                <a:cxn ang="0">
                  <a:pos x="2889" y="2414"/>
                </a:cxn>
                <a:cxn ang="0">
                  <a:pos x="2642" y="2711"/>
                </a:cxn>
                <a:cxn ang="0">
                  <a:pos x="2332" y="2938"/>
                </a:cxn>
                <a:cxn ang="0">
                  <a:pos x="1969" y="3084"/>
                </a:cxn>
                <a:cxn ang="0">
                  <a:pos x="1568" y="3136"/>
                </a:cxn>
                <a:cxn ang="0">
                  <a:pos x="1167" y="3084"/>
                </a:cxn>
                <a:cxn ang="0">
                  <a:pos x="804" y="2938"/>
                </a:cxn>
                <a:cxn ang="0">
                  <a:pos x="494" y="2711"/>
                </a:cxn>
                <a:cxn ang="0">
                  <a:pos x="247" y="2414"/>
                </a:cxn>
                <a:cxn ang="0">
                  <a:pos x="80" y="2063"/>
                </a:cxn>
                <a:cxn ang="0">
                  <a:pos x="3" y="1671"/>
                </a:cxn>
                <a:cxn ang="0">
                  <a:pos x="29" y="1264"/>
                </a:cxn>
                <a:cxn ang="0">
                  <a:pos x="153" y="891"/>
                </a:cxn>
                <a:cxn ang="0">
                  <a:pos x="361" y="566"/>
                </a:cxn>
                <a:cxn ang="0">
                  <a:pos x="642" y="303"/>
                </a:cxn>
                <a:cxn ang="0">
                  <a:pos x="980" y="114"/>
                </a:cxn>
                <a:cxn ang="0">
                  <a:pos x="1364" y="13"/>
                </a:cxn>
              </a:cxnLst>
              <a:rect l="0" t="0" r="r" b="b"/>
              <a:pathLst>
                <a:path w="3136" h="3136">
                  <a:moveTo>
                    <a:pt x="1400" y="234"/>
                  </a:moveTo>
                  <a:lnTo>
                    <a:pt x="1310" y="250"/>
                  </a:lnTo>
                  <a:lnTo>
                    <a:pt x="1222" y="269"/>
                  </a:lnTo>
                  <a:lnTo>
                    <a:pt x="1136" y="295"/>
                  </a:lnTo>
                  <a:lnTo>
                    <a:pt x="1053" y="327"/>
                  </a:lnTo>
                  <a:lnTo>
                    <a:pt x="972" y="364"/>
                  </a:lnTo>
                  <a:lnTo>
                    <a:pt x="895" y="405"/>
                  </a:lnTo>
                  <a:lnTo>
                    <a:pt x="820" y="452"/>
                  </a:lnTo>
                  <a:lnTo>
                    <a:pt x="749" y="503"/>
                  </a:lnTo>
                  <a:lnTo>
                    <a:pt x="682" y="558"/>
                  </a:lnTo>
                  <a:lnTo>
                    <a:pt x="618" y="618"/>
                  </a:lnTo>
                  <a:lnTo>
                    <a:pt x="558" y="682"/>
                  </a:lnTo>
                  <a:lnTo>
                    <a:pt x="503" y="749"/>
                  </a:lnTo>
                  <a:lnTo>
                    <a:pt x="452" y="820"/>
                  </a:lnTo>
                  <a:lnTo>
                    <a:pt x="405" y="895"/>
                  </a:lnTo>
                  <a:lnTo>
                    <a:pt x="364" y="972"/>
                  </a:lnTo>
                  <a:lnTo>
                    <a:pt x="327" y="1053"/>
                  </a:lnTo>
                  <a:lnTo>
                    <a:pt x="295" y="1136"/>
                  </a:lnTo>
                  <a:lnTo>
                    <a:pt x="269" y="1222"/>
                  </a:lnTo>
                  <a:lnTo>
                    <a:pt x="250" y="1310"/>
                  </a:lnTo>
                  <a:lnTo>
                    <a:pt x="234" y="1400"/>
                  </a:lnTo>
                  <a:lnTo>
                    <a:pt x="448" y="1400"/>
                  </a:lnTo>
                  <a:lnTo>
                    <a:pt x="448" y="1736"/>
                  </a:lnTo>
                  <a:lnTo>
                    <a:pt x="234" y="1736"/>
                  </a:lnTo>
                  <a:lnTo>
                    <a:pt x="250" y="1826"/>
                  </a:lnTo>
                  <a:lnTo>
                    <a:pt x="269" y="1914"/>
                  </a:lnTo>
                  <a:lnTo>
                    <a:pt x="295" y="2000"/>
                  </a:lnTo>
                  <a:lnTo>
                    <a:pt x="327" y="2083"/>
                  </a:lnTo>
                  <a:lnTo>
                    <a:pt x="364" y="2164"/>
                  </a:lnTo>
                  <a:lnTo>
                    <a:pt x="405" y="2241"/>
                  </a:lnTo>
                  <a:lnTo>
                    <a:pt x="452" y="2316"/>
                  </a:lnTo>
                  <a:lnTo>
                    <a:pt x="503" y="2387"/>
                  </a:lnTo>
                  <a:lnTo>
                    <a:pt x="558" y="2454"/>
                  </a:lnTo>
                  <a:lnTo>
                    <a:pt x="618" y="2518"/>
                  </a:lnTo>
                  <a:lnTo>
                    <a:pt x="682" y="2578"/>
                  </a:lnTo>
                  <a:lnTo>
                    <a:pt x="749" y="2633"/>
                  </a:lnTo>
                  <a:lnTo>
                    <a:pt x="820" y="2684"/>
                  </a:lnTo>
                  <a:lnTo>
                    <a:pt x="895" y="2731"/>
                  </a:lnTo>
                  <a:lnTo>
                    <a:pt x="972" y="2772"/>
                  </a:lnTo>
                  <a:lnTo>
                    <a:pt x="1053" y="2809"/>
                  </a:lnTo>
                  <a:lnTo>
                    <a:pt x="1136" y="2841"/>
                  </a:lnTo>
                  <a:lnTo>
                    <a:pt x="1222" y="2867"/>
                  </a:lnTo>
                  <a:lnTo>
                    <a:pt x="1310" y="2886"/>
                  </a:lnTo>
                  <a:lnTo>
                    <a:pt x="1400" y="2902"/>
                  </a:lnTo>
                  <a:lnTo>
                    <a:pt x="1400" y="2688"/>
                  </a:lnTo>
                  <a:lnTo>
                    <a:pt x="1736" y="2688"/>
                  </a:lnTo>
                  <a:lnTo>
                    <a:pt x="1736" y="2902"/>
                  </a:lnTo>
                  <a:lnTo>
                    <a:pt x="1826" y="2886"/>
                  </a:lnTo>
                  <a:lnTo>
                    <a:pt x="1914" y="2867"/>
                  </a:lnTo>
                  <a:lnTo>
                    <a:pt x="2000" y="2841"/>
                  </a:lnTo>
                  <a:lnTo>
                    <a:pt x="2083" y="2809"/>
                  </a:lnTo>
                  <a:lnTo>
                    <a:pt x="2164" y="2772"/>
                  </a:lnTo>
                  <a:lnTo>
                    <a:pt x="2241" y="2731"/>
                  </a:lnTo>
                  <a:lnTo>
                    <a:pt x="2316" y="2684"/>
                  </a:lnTo>
                  <a:lnTo>
                    <a:pt x="2387" y="2633"/>
                  </a:lnTo>
                  <a:lnTo>
                    <a:pt x="2454" y="2578"/>
                  </a:lnTo>
                  <a:lnTo>
                    <a:pt x="2518" y="2518"/>
                  </a:lnTo>
                  <a:lnTo>
                    <a:pt x="2578" y="2454"/>
                  </a:lnTo>
                  <a:lnTo>
                    <a:pt x="2633" y="2387"/>
                  </a:lnTo>
                  <a:lnTo>
                    <a:pt x="2684" y="2316"/>
                  </a:lnTo>
                  <a:lnTo>
                    <a:pt x="2731" y="2241"/>
                  </a:lnTo>
                  <a:lnTo>
                    <a:pt x="2772" y="2164"/>
                  </a:lnTo>
                  <a:lnTo>
                    <a:pt x="2809" y="2083"/>
                  </a:lnTo>
                  <a:lnTo>
                    <a:pt x="2841" y="2000"/>
                  </a:lnTo>
                  <a:lnTo>
                    <a:pt x="2867" y="1914"/>
                  </a:lnTo>
                  <a:lnTo>
                    <a:pt x="2886" y="1826"/>
                  </a:lnTo>
                  <a:lnTo>
                    <a:pt x="2902" y="1736"/>
                  </a:lnTo>
                  <a:lnTo>
                    <a:pt x="2688" y="1736"/>
                  </a:lnTo>
                  <a:lnTo>
                    <a:pt x="2688" y="1400"/>
                  </a:lnTo>
                  <a:lnTo>
                    <a:pt x="2902" y="1400"/>
                  </a:lnTo>
                  <a:lnTo>
                    <a:pt x="2886" y="1310"/>
                  </a:lnTo>
                  <a:lnTo>
                    <a:pt x="2867" y="1222"/>
                  </a:lnTo>
                  <a:lnTo>
                    <a:pt x="2841" y="1136"/>
                  </a:lnTo>
                  <a:lnTo>
                    <a:pt x="2809" y="1053"/>
                  </a:lnTo>
                  <a:lnTo>
                    <a:pt x="2772" y="972"/>
                  </a:lnTo>
                  <a:lnTo>
                    <a:pt x="2731" y="895"/>
                  </a:lnTo>
                  <a:lnTo>
                    <a:pt x="2684" y="820"/>
                  </a:lnTo>
                  <a:lnTo>
                    <a:pt x="2633" y="749"/>
                  </a:lnTo>
                  <a:lnTo>
                    <a:pt x="2578" y="682"/>
                  </a:lnTo>
                  <a:lnTo>
                    <a:pt x="2518" y="618"/>
                  </a:lnTo>
                  <a:lnTo>
                    <a:pt x="2454" y="558"/>
                  </a:lnTo>
                  <a:lnTo>
                    <a:pt x="2387" y="503"/>
                  </a:lnTo>
                  <a:lnTo>
                    <a:pt x="2316" y="452"/>
                  </a:lnTo>
                  <a:lnTo>
                    <a:pt x="2241" y="405"/>
                  </a:lnTo>
                  <a:lnTo>
                    <a:pt x="2164" y="364"/>
                  </a:lnTo>
                  <a:lnTo>
                    <a:pt x="2083" y="327"/>
                  </a:lnTo>
                  <a:lnTo>
                    <a:pt x="2000" y="295"/>
                  </a:lnTo>
                  <a:lnTo>
                    <a:pt x="1914" y="269"/>
                  </a:lnTo>
                  <a:lnTo>
                    <a:pt x="1826" y="250"/>
                  </a:lnTo>
                  <a:lnTo>
                    <a:pt x="1736" y="234"/>
                  </a:lnTo>
                  <a:lnTo>
                    <a:pt x="1736" y="448"/>
                  </a:lnTo>
                  <a:lnTo>
                    <a:pt x="1400" y="448"/>
                  </a:lnTo>
                  <a:lnTo>
                    <a:pt x="1400" y="234"/>
                  </a:lnTo>
                  <a:close/>
                  <a:moveTo>
                    <a:pt x="1568" y="0"/>
                  </a:moveTo>
                  <a:lnTo>
                    <a:pt x="1671" y="3"/>
                  </a:lnTo>
                  <a:lnTo>
                    <a:pt x="1772" y="13"/>
                  </a:lnTo>
                  <a:lnTo>
                    <a:pt x="1872" y="29"/>
                  </a:lnTo>
                  <a:lnTo>
                    <a:pt x="1969" y="52"/>
                  </a:lnTo>
                  <a:lnTo>
                    <a:pt x="2063" y="80"/>
                  </a:lnTo>
                  <a:lnTo>
                    <a:pt x="2156" y="114"/>
                  </a:lnTo>
                  <a:lnTo>
                    <a:pt x="2245" y="153"/>
                  </a:lnTo>
                  <a:lnTo>
                    <a:pt x="2332" y="198"/>
                  </a:lnTo>
                  <a:lnTo>
                    <a:pt x="2414" y="247"/>
                  </a:lnTo>
                  <a:lnTo>
                    <a:pt x="2494" y="303"/>
                  </a:lnTo>
                  <a:lnTo>
                    <a:pt x="2570" y="361"/>
                  </a:lnTo>
                  <a:lnTo>
                    <a:pt x="2642" y="425"/>
                  </a:lnTo>
                  <a:lnTo>
                    <a:pt x="2711" y="494"/>
                  </a:lnTo>
                  <a:lnTo>
                    <a:pt x="2775" y="566"/>
                  </a:lnTo>
                  <a:lnTo>
                    <a:pt x="2833" y="642"/>
                  </a:lnTo>
                  <a:lnTo>
                    <a:pt x="2889" y="722"/>
                  </a:lnTo>
                  <a:lnTo>
                    <a:pt x="2938" y="804"/>
                  </a:lnTo>
                  <a:lnTo>
                    <a:pt x="2983" y="891"/>
                  </a:lnTo>
                  <a:lnTo>
                    <a:pt x="3022" y="980"/>
                  </a:lnTo>
                  <a:lnTo>
                    <a:pt x="3056" y="1073"/>
                  </a:lnTo>
                  <a:lnTo>
                    <a:pt x="3084" y="1167"/>
                  </a:lnTo>
                  <a:lnTo>
                    <a:pt x="3107" y="1264"/>
                  </a:lnTo>
                  <a:lnTo>
                    <a:pt x="3123" y="1364"/>
                  </a:lnTo>
                  <a:lnTo>
                    <a:pt x="3133" y="1465"/>
                  </a:lnTo>
                  <a:lnTo>
                    <a:pt x="3136" y="1568"/>
                  </a:lnTo>
                  <a:lnTo>
                    <a:pt x="3133" y="1671"/>
                  </a:lnTo>
                  <a:lnTo>
                    <a:pt x="3123" y="1772"/>
                  </a:lnTo>
                  <a:lnTo>
                    <a:pt x="3107" y="1872"/>
                  </a:lnTo>
                  <a:lnTo>
                    <a:pt x="3084" y="1969"/>
                  </a:lnTo>
                  <a:lnTo>
                    <a:pt x="3056" y="2063"/>
                  </a:lnTo>
                  <a:lnTo>
                    <a:pt x="3022" y="2156"/>
                  </a:lnTo>
                  <a:lnTo>
                    <a:pt x="2983" y="2245"/>
                  </a:lnTo>
                  <a:lnTo>
                    <a:pt x="2938" y="2332"/>
                  </a:lnTo>
                  <a:lnTo>
                    <a:pt x="2889" y="2414"/>
                  </a:lnTo>
                  <a:lnTo>
                    <a:pt x="2833" y="2494"/>
                  </a:lnTo>
                  <a:lnTo>
                    <a:pt x="2775" y="2570"/>
                  </a:lnTo>
                  <a:lnTo>
                    <a:pt x="2711" y="2642"/>
                  </a:lnTo>
                  <a:lnTo>
                    <a:pt x="2642" y="2711"/>
                  </a:lnTo>
                  <a:lnTo>
                    <a:pt x="2570" y="2775"/>
                  </a:lnTo>
                  <a:lnTo>
                    <a:pt x="2494" y="2833"/>
                  </a:lnTo>
                  <a:lnTo>
                    <a:pt x="2414" y="2889"/>
                  </a:lnTo>
                  <a:lnTo>
                    <a:pt x="2332" y="2938"/>
                  </a:lnTo>
                  <a:lnTo>
                    <a:pt x="2245" y="2983"/>
                  </a:lnTo>
                  <a:lnTo>
                    <a:pt x="2156" y="3022"/>
                  </a:lnTo>
                  <a:lnTo>
                    <a:pt x="2063" y="3056"/>
                  </a:lnTo>
                  <a:lnTo>
                    <a:pt x="1969" y="3084"/>
                  </a:lnTo>
                  <a:lnTo>
                    <a:pt x="1872" y="3107"/>
                  </a:lnTo>
                  <a:lnTo>
                    <a:pt x="1772" y="3123"/>
                  </a:lnTo>
                  <a:lnTo>
                    <a:pt x="1671" y="3133"/>
                  </a:lnTo>
                  <a:lnTo>
                    <a:pt x="1568" y="3136"/>
                  </a:lnTo>
                  <a:lnTo>
                    <a:pt x="1465" y="3133"/>
                  </a:lnTo>
                  <a:lnTo>
                    <a:pt x="1364" y="3123"/>
                  </a:lnTo>
                  <a:lnTo>
                    <a:pt x="1264" y="3107"/>
                  </a:lnTo>
                  <a:lnTo>
                    <a:pt x="1167" y="3084"/>
                  </a:lnTo>
                  <a:lnTo>
                    <a:pt x="1073" y="3056"/>
                  </a:lnTo>
                  <a:lnTo>
                    <a:pt x="980" y="3022"/>
                  </a:lnTo>
                  <a:lnTo>
                    <a:pt x="891" y="2983"/>
                  </a:lnTo>
                  <a:lnTo>
                    <a:pt x="804" y="2938"/>
                  </a:lnTo>
                  <a:lnTo>
                    <a:pt x="722" y="2889"/>
                  </a:lnTo>
                  <a:lnTo>
                    <a:pt x="642" y="2833"/>
                  </a:lnTo>
                  <a:lnTo>
                    <a:pt x="566" y="2775"/>
                  </a:lnTo>
                  <a:lnTo>
                    <a:pt x="494" y="2711"/>
                  </a:lnTo>
                  <a:lnTo>
                    <a:pt x="425" y="2642"/>
                  </a:lnTo>
                  <a:lnTo>
                    <a:pt x="361" y="2570"/>
                  </a:lnTo>
                  <a:lnTo>
                    <a:pt x="303" y="2494"/>
                  </a:lnTo>
                  <a:lnTo>
                    <a:pt x="247" y="2414"/>
                  </a:lnTo>
                  <a:lnTo>
                    <a:pt x="198" y="2332"/>
                  </a:lnTo>
                  <a:lnTo>
                    <a:pt x="153" y="2245"/>
                  </a:lnTo>
                  <a:lnTo>
                    <a:pt x="114" y="2156"/>
                  </a:lnTo>
                  <a:lnTo>
                    <a:pt x="80" y="2063"/>
                  </a:lnTo>
                  <a:lnTo>
                    <a:pt x="52" y="1969"/>
                  </a:lnTo>
                  <a:lnTo>
                    <a:pt x="29" y="1872"/>
                  </a:lnTo>
                  <a:lnTo>
                    <a:pt x="13" y="1772"/>
                  </a:lnTo>
                  <a:lnTo>
                    <a:pt x="3" y="1671"/>
                  </a:lnTo>
                  <a:lnTo>
                    <a:pt x="0" y="1568"/>
                  </a:lnTo>
                  <a:lnTo>
                    <a:pt x="3" y="1465"/>
                  </a:lnTo>
                  <a:lnTo>
                    <a:pt x="13" y="1364"/>
                  </a:lnTo>
                  <a:lnTo>
                    <a:pt x="29" y="1264"/>
                  </a:lnTo>
                  <a:lnTo>
                    <a:pt x="52" y="1167"/>
                  </a:lnTo>
                  <a:lnTo>
                    <a:pt x="80" y="1073"/>
                  </a:lnTo>
                  <a:lnTo>
                    <a:pt x="114" y="980"/>
                  </a:lnTo>
                  <a:lnTo>
                    <a:pt x="153" y="891"/>
                  </a:lnTo>
                  <a:lnTo>
                    <a:pt x="198" y="804"/>
                  </a:lnTo>
                  <a:lnTo>
                    <a:pt x="247" y="722"/>
                  </a:lnTo>
                  <a:lnTo>
                    <a:pt x="303" y="642"/>
                  </a:lnTo>
                  <a:lnTo>
                    <a:pt x="361" y="566"/>
                  </a:lnTo>
                  <a:lnTo>
                    <a:pt x="425" y="494"/>
                  </a:lnTo>
                  <a:lnTo>
                    <a:pt x="494" y="425"/>
                  </a:lnTo>
                  <a:lnTo>
                    <a:pt x="566" y="361"/>
                  </a:lnTo>
                  <a:lnTo>
                    <a:pt x="642" y="303"/>
                  </a:lnTo>
                  <a:lnTo>
                    <a:pt x="722" y="247"/>
                  </a:lnTo>
                  <a:lnTo>
                    <a:pt x="804" y="198"/>
                  </a:lnTo>
                  <a:lnTo>
                    <a:pt x="891" y="153"/>
                  </a:lnTo>
                  <a:lnTo>
                    <a:pt x="980" y="114"/>
                  </a:lnTo>
                  <a:lnTo>
                    <a:pt x="1073" y="80"/>
                  </a:lnTo>
                  <a:lnTo>
                    <a:pt x="1167" y="52"/>
                  </a:lnTo>
                  <a:lnTo>
                    <a:pt x="1264" y="29"/>
                  </a:lnTo>
                  <a:lnTo>
                    <a:pt x="1364" y="13"/>
                  </a:lnTo>
                  <a:lnTo>
                    <a:pt x="1465" y="3"/>
                  </a:lnTo>
                  <a:lnTo>
                    <a:pt x="15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1" name="Freeform 16"/>
            <p:cNvSpPr>
              <a:spLocks/>
            </p:cNvSpPr>
            <p:nvPr/>
          </p:nvSpPr>
          <p:spPr bwMode="auto">
            <a:xfrm>
              <a:off x="1597484" y="2924266"/>
              <a:ext cx="44450" cy="41275"/>
            </a:xfrm>
            <a:custGeom>
              <a:avLst/>
              <a:gdLst/>
              <a:ahLst/>
              <a:cxnLst>
                <a:cxn ang="0">
                  <a:pos x="146" y="0"/>
                </a:cxn>
                <a:cxn ang="0">
                  <a:pos x="202" y="96"/>
                </a:cxn>
                <a:cxn ang="0">
                  <a:pos x="57" y="181"/>
                </a:cxn>
                <a:cxn ang="0">
                  <a:pos x="0" y="83"/>
                </a:cxn>
                <a:cxn ang="0">
                  <a:pos x="146" y="0"/>
                </a:cxn>
              </a:cxnLst>
              <a:rect l="0" t="0" r="r" b="b"/>
              <a:pathLst>
                <a:path w="202" h="181">
                  <a:moveTo>
                    <a:pt x="146" y="0"/>
                  </a:moveTo>
                  <a:lnTo>
                    <a:pt x="202" y="96"/>
                  </a:lnTo>
                  <a:lnTo>
                    <a:pt x="57" y="181"/>
                  </a:lnTo>
                  <a:lnTo>
                    <a:pt x="0" y="83"/>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2" name="Freeform 17"/>
            <p:cNvSpPr>
              <a:spLocks/>
            </p:cNvSpPr>
            <p:nvPr/>
          </p:nvSpPr>
          <p:spPr bwMode="auto">
            <a:xfrm>
              <a:off x="2070559" y="2651216"/>
              <a:ext cx="44450" cy="41275"/>
            </a:xfrm>
            <a:custGeom>
              <a:avLst/>
              <a:gdLst/>
              <a:ahLst/>
              <a:cxnLst>
                <a:cxn ang="0">
                  <a:pos x="145" y="0"/>
                </a:cxn>
                <a:cxn ang="0">
                  <a:pos x="202" y="98"/>
                </a:cxn>
                <a:cxn ang="0">
                  <a:pos x="56" y="181"/>
                </a:cxn>
                <a:cxn ang="0">
                  <a:pos x="0" y="85"/>
                </a:cxn>
                <a:cxn ang="0">
                  <a:pos x="145" y="0"/>
                </a:cxn>
              </a:cxnLst>
              <a:rect l="0" t="0" r="r" b="b"/>
              <a:pathLst>
                <a:path w="202" h="181">
                  <a:moveTo>
                    <a:pt x="145" y="0"/>
                  </a:moveTo>
                  <a:lnTo>
                    <a:pt x="202" y="98"/>
                  </a:lnTo>
                  <a:lnTo>
                    <a:pt x="56" y="181"/>
                  </a:lnTo>
                  <a:lnTo>
                    <a:pt x="0" y="85"/>
                  </a:lnTo>
                  <a:lnTo>
                    <a:pt x="1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3" name="Freeform 18"/>
            <p:cNvSpPr>
              <a:spLocks/>
            </p:cNvSpPr>
            <p:nvPr/>
          </p:nvSpPr>
          <p:spPr bwMode="auto">
            <a:xfrm>
              <a:off x="1699084" y="3022691"/>
              <a:ext cx="41275" cy="44450"/>
            </a:xfrm>
            <a:custGeom>
              <a:avLst/>
              <a:gdLst/>
              <a:ahLst/>
              <a:cxnLst>
                <a:cxn ang="0">
                  <a:pos x="85" y="0"/>
                </a:cxn>
                <a:cxn ang="0">
                  <a:pos x="181" y="56"/>
                </a:cxn>
                <a:cxn ang="0">
                  <a:pos x="98" y="202"/>
                </a:cxn>
                <a:cxn ang="0">
                  <a:pos x="0" y="145"/>
                </a:cxn>
                <a:cxn ang="0">
                  <a:pos x="85" y="0"/>
                </a:cxn>
              </a:cxnLst>
              <a:rect l="0" t="0" r="r" b="b"/>
              <a:pathLst>
                <a:path w="181" h="202">
                  <a:moveTo>
                    <a:pt x="85" y="0"/>
                  </a:moveTo>
                  <a:lnTo>
                    <a:pt x="181" y="56"/>
                  </a:lnTo>
                  <a:lnTo>
                    <a:pt x="98" y="202"/>
                  </a:lnTo>
                  <a:lnTo>
                    <a:pt x="0" y="145"/>
                  </a:lnTo>
                  <a:lnTo>
                    <a:pt x="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4" name="Freeform 19"/>
            <p:cNvSpPr>
              <a:spLocks/>
            </p:cNvSpPr>
            <p:nvPr/>
          </p:nvSpPr>
          <p:spPr bwMode="auto">
            <a:xfrm>
              <a:off x="1972134" y="2549616"/>
              <a:ext cx="41275" cy="44450"/>
            </a:xfrm>
            <a:custGeom>
              <a:avLst/>
              <a:gdLst/>
              <a:ahLst/>
              <a:cxnLst>
                <a:cxn ang="0">
                  <a:pos x="83" y="0"/>
                </a:cxn>
                <a:cxn ang="0">
                  <a:pos x="181" y="57"/>
                </a:cxn>
                <a:cxn ang="0">
                  <a:pos x="96" y="202"/>
                </a:cxn>
                <a:cxn ang="0">
                  <a:pos x="0" y="146"/>
                </a:cxn>
                <a:cxn ang="0">
                  <a:pos x="83" y="0"/>
                </a:cxn>
              </a:cxnLst>
              <a:rect l="0" t="0" r="r" b="b"/>
              <a:pathLst>
                <a:path w="181" h="202">
                  <a:moveTo>
                    <a:pt x="83" y="0"/>
                  </a:moveTo>
                  <a:lnTo>
                    <a:pt x="181" y="57"/>
                  </a:lnTo>
                  <a:lnTo>
                    <a:pt x="96" y="202"/>
                  </a:lnTo>
                  <a:lnTo>
                    <a:pt x="0" y="146"/>
                  </a:lnTo>
                  <a:lnTo>
                    <a:pt x="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5" name="Freeform 20"/>
            <p:cNvSpPr>
              <a:spLocks/>
            </p:cNvSpPr>
            <p:nvPr/>
          </p:nvSpPr>
          <p:spPr bwMode="auto">
            <a:xfrm>
              <a:off x="1972134" y="3022691"/>
              <a:ext cx="41275" cy="44450"/>
            </a:xfrm>
            <a:custGeom>
              <a:avLst/>
              <a:gdLst/>
              <a:ahLst/>
              <a:cxnLst>
                <a:cxn ang="0">
                  <a:pos x="96" y="0"/>
                </a:cxn>
                <a:cxn ang="0">
                  <a:pos x="181" y="145"/>
                </a:cxn>
                <a:cxn ang="0">
                  <a:pos x="83" y="202"/>
                </a:cxn>
                <a:cxn ang="0">
                  <a:pos x="0" y="56"/>
                </a:cxn>
                <a:cxn ang="0">
                  <a:pos x="96" y="0"/>
                </a:cxn>
              </a:cxnLst>
              <a:rect l="0" t="0" r="r" b="b"/>
              <a:pathLst>
                <a:path w="181" h="202">
                  <a:moveTo>
                    <a:pt x="96" y="0"/>
                  </a:moveTo>
                  <a:lnTo>
                    <a:pt x="181" y="145"/>
                  </a:lnTo>
                  <a:lnTo>
                    <a:pt x="83" y="202"/>
                  </a:lnTo>
                  <a:lnTo>
                    <a:pt x="0" y="56"/>
                  </a:ln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6" name="Freeform 21"/>
            <p:cNvSpPr>
              <a:spLocks/>
            </p:cNvSpPr>
            <p:nvPr/>
          </p:nvSpPr>
          <p:spPr bwMode="auto">
            <a:xfrm>
              <a:off x="1699084" y="2549616"/>
              <a:ext cx="41275" cy="44450"/>
            </a:xfrm>
            <a:custGeom>
              <a:avLst/>
              <a:gdLst/>
              <a:ahLst/>
              <a:cxnLst>
                <a:cxn ang="0">
                  <a:pos x="98" y="0"/>
                </a:cxn>
                <a:cxn ang="0">
                  <a:pos x="181" y="146"/>
                </a:cxn>
                <a:cxn ang="0">
                  <a:pos x="85" y="202"/>
                </a:cxn>
                <a:cxn ang="0">
                  <a:pos x="0" y="57"/>
                </a:cxn>
                <a:cxn ang="0">
                  <a:pos x="98" y="0"/>
                </a:cxn>
              </a:cxnLst>
              <a:rect l="0" t="0" r="r" b="b"/>
              <a:pathLst>
                <a:path w="181" h="202">
                  <a:moveTo>
                    <a:pt x="98" y="0"/>
                  </a:moveTo>
                  <a:lnTo>
                    <a:pt x="181" y="146"/>
                  </a:lnTo>
                  <a:lnTo>
                    <a:pt x="85" y="202"/>
                  </a:lnTo>
                  <a:lnTo>
                    <a:pt x="0" y="57"/>
                  </a:lnTo>
                  <a:lnTo>
                    <a:pt x="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7" name="Freeform 22"/>
            <p:cNvSpPr>
              <a:spLocks/>
            </p:cNvSpPr>
            <p:nvPr/>
          </p:nvSpPr>
          <p:spPr bwMode="auto">
            <a:xfrm>
              <a:off x="2070559" y="2924266"/>
              <a:ext cx="44450" cy="41275"/>
            </a:xfrm>
            <a:custGeom>
              <a:avLst/>
              <a:gdLst/>
              <a:ahLst/>
              <a:cxnLst>
                <a:cxn ang="0">
                  <a:pos x="56" y="0"/>
                </a:cxn>
                <a:cxn ang="0">
                  <a:pos x="202" y="83"/>
                </a:cxn>
                <a:cxn ang="0">
                  <a:pos x="145" y="181"/>
                </a:cxn>
                <a:cxn ang="0">
                  <a:pos x="0" y="96"/>
                </a:cxn>
                <a:cxn ang="0">
                  <a:pos x="56" y="0"/>
                </a:cxn>
              </a:cxnLst>
              <a:rect l="0" t="0" r="r" b="b"/>
              <a:pathLst>
                <a:path w="202" h="181">
                  <a:moveTo>
                    <a:pt x="56" y="0"/>
                  </a:moveTo>
                  <a:lnTo>
                    <a:pt x="202" y="83"/>
                  </a:lnTo>
                  <a:lnTo>
                    <a:pt x="145" y="181"/>
                  </a:lnTo>
                  <a:lnTo>
                    <a:pt x="0" y="96"/>
                  </a:lnTo>
                  <a:lnTo>
                    <a:pt x="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8" name="Freeform 23"/>
            <p:cNvSpPr>
              <a:spLocks/>
            </p:cNvSpPr>
            <p:nvPr/>
          </p:nvSpPr>
          <p:spPr bwMode="auto">
            <a:xfrm>
              <a:off x="1597484" y="2651216"/>
              <a:ext cx="44450" cy="41275"/>
            </a:xfrm>
            <a:custGeom>
              <a:avLst/>
              <a:gdLst/>
              <a:ahLst/>
              <a:cxnLst>
                <a:cxn ang="0">
                  <a:pos x="57" y="0"/>
                </a:cxn>
                <a:cxn ang="0">
                  <a:pos x="202" y="85"/>
                </a:cxn>
                <a:cxn ang="0">
                  <a:pos x="146" y="181"/>
                </a:cxn>
                <a:cxn ang="0">
                  <a:pos x="0" y="98"/>
                </a:cxn>
                <a:cxn ang="0">
                  <a:pos x="57" y="0"/>
                </a:cxn>
              </a:cxnLst>
              <a:rect l="0" t="0" r="r" b="b"/>
              <a:pathLst>
                <a:path w="202" h="181">
                  <a:moveTo>
                    <a:pt x="57" y="0"/>
                  </a:moveTo>
                  <a:lnTo>
                    <a:pt x="202" y="85"/>
                  </a:lnTo>
                  <a:lnTo>
                    <a:pt x="146" y="181"/>
                  </a:lnTo>
                  <a:lnTo>
                    <a:pt x="0" y="98"/>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69" name="Freeform 24"/>
            <p:cNvSpPr>
              <a:spLocks/>
            </p:cNvSpPr>
            <p:nvPr/>
          </p:nvSpPr>
          <p:spPr bwMode="auto">
            <a:xfrm>
              <a:off x="1730834" y="2603591"/>
              <a:ext cx="163513" cy="242888"/>
            </a:xfrm>
            <a:custGeom>
              <a:avLst/>
              <a:gdLst/>
              <a:ahLst/>
              <a:cxnLst>
                <a:cxn ang="0">
                  <a:pos x="98" y="0"/>
                </a:cxn>
                <a:cxn ang="0">
                  <a:pos x="441" y="595"/>
                </a:cxn>
                <a:cxn ang="0">
                  <a:pos x="441" y="61"/>
                </a:cxn>
                <a:cxn ang="0">
                  <a:pos x="665" y="61"/>
                </a:cxn>
                <a:cxn ang="0">
                  <a:pos x="665" y="776"/>
                </a:cxn>
                <a:cxn ang="0">
                  <a:pos x="684" y="797"/>
                </a:cxn>
                <a:cxn ang="0">
                  <a:pos x="700" y="820"/>
                </a:cxn>
                <a:cxn ang="0">
                  <a:pos x="712" y="845"/>
                </a:cxn>
                <a:cxn ang="0">
                  <a:pos x="718" y="872"/>
                </a:cxn>
                <a:cxn ang="0">
                  <a:pos x="721" y="901"/>
                </a:cxn>
                <a:cxn ang="0">
                  <a:pos x="718" y="931"/>
                </a:cxn>
                <a:cxn ang="0">
                  <a:pos x="710" y="960"/>
                </a:cxn>
                <a:cxn ang="0">
                  <a:pos x="699" y="986"/>
                </a:cxn>
                <a:cxn ang="0">
                  <a:pos x="681" y="1010"/>
                </a:cxn>
                <a:cxn ang="0">
                  <a:pos x="662" y="1029"/>
                </a:cxn>
                <a:cxn ang="0">
                  <a:pos x="638" y="1047"/>
                </a:cxn>
                <a:cxn ang="0">
                  <a:pos x="612" y="1058"/>
                </a:cxn>
                <a:cxn ang="0">
                  <a:pos x="583" y="1066"/>
                </a:cxn>
                <a:cxn ang="0">
                  <a:pos x="553" y="1069"/>
                </a:cxn>
                <a:cxn ang="0">
                  <a:pos x="523" y="1066"/>
                </a:cxn>
                <a:cxn ang="0">
                  <a:pos x="494" y="1058"/>
                </a:cxn>
                <a:cxn ang="0">
                  <a:pos x="468" y="1047"/>
                </a:cxn>
                <a:cxn ang="0">
                  <a:pos x="444" y="1029"/>
                </a:cxn>
                <a:cxn ang="0">
                  <a:pos x="425" y="1010"/>
                </a:cxn>
                <a:cxn ang="0">
                  <a:pos x="407" y="986"/>
                </a:cxn>
                <a:cxn ang="0">
                  <a:pos x="396" y="960"/>
                </a:cxn>
                <a:cxn ang="0">
                  <a:pos x="388" y="931"/>
                </a:cxn>
                <a:cxn ang="0">
                  <a:pos x="385" y="901"/>
                </a:cxn>
                <a:cxn ang="0">
                  <a:pos x="388" y="871"/>
                </a:cxn>
                <a:cxn ang="0">
                  <a:pos x="396" y="842"/>
                </a:cxn>
                <a:cxn ang="0">
                  <a:pos x="409" y="816"/>
                </a:cxn>
                <a:cxn ang="0">
                  <a:pos x="426" y="792"/>
                </a:cxn>
                <a:cxn ang="0">
                  <a:pos x="0" y="56"/>
                </a:cxn>
                <a:cxn ang="0">
                  <a:pos x="98" y="0"/>
                </a:cxn>
              </a:cxnLst>
              <a:rect l="0" t="0" r="r" b="b"/>
              <a:pathLst>
                <a:path w="721" h="1069">
                  <a:moveTo>
                    <a:pt x="98" y="0"/>
                  </a:moveTo>
                  <a:lnTo>
                    <a:pt x="441" y="595"/>
                  </a:lnTo>
                  <a:lnTo>
                    <a:pt x="441" y="61"/>
                  </a:lnTo>
                  <a:lnTo>
                    <a:pt x="665" y="61"/>
                  </a:lnTo>
                  <a:lnTo>
                    <a:pt x="665" y="776"/>
                  </a:lnTo>
                  <a:lnTo>
                    <a:pt x="684" y="797"/>
                  </a:lnTo>
                  <a:lnTo>
                    <a:pt x="700" y="820"/>
                  </a:lnTo>
                  <a:lnTo>
                    <a:pt x="712" y="845"/>
                  </a:lnTo>
                  <a:lnTo>
                    <a:pt x="718" y="872"/>
                  </a:lnTo>
                  <a:lnTo>
                    <a:pt x="721" y="901"/>
                  </a:lnTo>
                  <a:lnTo>
                    <a:pt x="718" y="931"/>
                  </a:lnTo>
                  <a:lnTo>
                    <a:pt x="710" y="960"/>
                  </a:lnTo>
                  <a:lnTo>
                    <a:pt x="699" y="986"/>
                  </a:lnTo>
                  <a:lnTo>
                    <a:pt x="681" y="1010"/>
                  </a:lnTo>
                  <a:lnTo>
                    <a:pt x="662" y="1029"/>
                  </a:lnTo>
                  <a:lnTo>
                    <a:pt x="638" y="1047"/>
                  </a:lnTo>
                  <a:lnTo>
                    <a:pt x="612" y="1058"/>
                  </a:lnTo>
                  <a:lnTo>
                    <a:pt x="583" y="1066"/>
                  </a:lnTo>
                  <a:lnTo>
                    <a:pt x="553" y="1069"/>
                  </a:lnTo>
                  <a:lnTo>
                    <a:pt x="523" y="1066"/>
                  </a:lnTo>
                  <a:lnTo>
                    <a:pt x="494" y="1058"/>
                  </a:lnTo>
                  <a:lnTo>
                    <a:pt x="468" y="1047"/>
                  </a:lnTo>
                  <a:lnTo>
                    <a:pt x="444" y="1029"/>
                  </a:lnTo>
                  <a:lnTo>
                    <a:pt x="425" y="1010"/>
                  </a:lnTo>
                  <a:lnTo>
                    <a:pt x="407" y="986"/>
                  </a:lnTo>
                  <a:lnTo>
                    <a:pt x="396" y="960"/>
                  </a:lnTo>
                  <a:lnTo>
                    <a:pt x="388" y="931"/>
                  </a:lnTo>
                  <a:lnTo>
                    <a:pt x="385" y="901"/>
                  </a:lnTo>
                  <a:lnTo>
                    <a:pt x="388" y="871"/>
                  </a:lnTo>
                  <a:lnTo>
                    <a:pt x="396" y="842"/>
                  </a:lnTo>
                  <a:lnTo>
                    <a:pt x="409" y="816"/>
                  </a:lnTo>
                  <a:lnTo>
                    <a:pt x="426" y="792"/>
                  </a:lnTo>
                  <a:lnTo>
                    <a:pt x="0" y="56"/>
                  </a:lnTo>
                  <a:lnTo>
                    <a:pt x="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70" name="Gruppieren 69"/>
          <p:cNvGrpSpPr/>
          <p:nvPr/>
        </p:nvGrpSpPr>
        <p:grpSpPr>
          <a:xfrm>
            <a:off x="1198052" y="3884177"/>
            <a:ext cx="561570" cy="352713"/>
            <a:chOff x="14712726" y="-546100"/>
            <a:chExt cx="836613" cy="525463"/>
          </a:xfrm>
          <a:solidFill>
            <a:schemeClr val="bg1"/>
          </a:solidFill>
        </p:grpSpPr>
        <p:sp>
          <p:nvSpPr>
            <p:cNvPr id="71" name="Freeform 83"/>
            <p:cNvSpPr>
              <a:spLocks noEditPoints="1"/>
            </p:cNvSpPr>
            <p:nvPr/>
          </p:nvSpPr>
          <p:spPr bwMode="auto">
            <a:xfrm>
              <a:off x="15131826" y="-546100"/>
              <a:ext cx="417513" cy="525463"/>
            </a:xfrm>
            <a:custGeom>
              <a:avLst/>
              <a:gdLst/>
              <a:ahLst/>
              <a:cxnLst>
                <a:cxn ang="0">
                  <a:pos x="111" y="120"/>
                </a:cxn>
                <a:cxn ang="0">
                  <a:pos x="105" y="120"/>
                </a:cxn>
                <a:cxn ang="0">
                  <a:pos x="103" y="121"/>
                </a:cxn>
                <a:cxn ang="0">
                  <a:pos x="103" y="131"/>
                </a:cxn>
                <a:cxn ang="0">
                  <a:pos x="95" y="139"/>
                </a:cxn>
                <a:cxn ang="0">
                  <a:pos x="88" y="131"/>
                </a:cxn>
                <a:cxn ang="0">
                  <a:pos x="88" y="120"/>
                </a:cxn>
                <a:cxn ang="0">
                  <a:pos x="24" y="120"/>
                </a:cxn>
                <a:cxn ang="0">
                  <a:pos x="23" y="122"/>
                </a:cxn>
                <a:cxn ang="0">
                  <a:pos x="23" y="133"/>
                </a:cxn>
                <a:cxn ang="0">
                  <a:pos x="15" y="139"/>
                </a:cxn>
                <a:cxn ang="0">
                  <a:pos x="8" y="133"/>
                </a:cxn>
                <a:cxn ang="0">
                  <a:pos x="8" y="123"/>
                </a:cxn>
                <a:cxn ang="0">
                  <a:pos x="8" y="120"/>
                </a:cxn>
                <a:cxn ang="0">
                  <a:pos x="0" y="120"/>
                </a:cxn>
                <a:cxn ang="0">
                  <a:pos x="0" y="117"/>
                </a:cxn>
                <a:cxn ang="0">
                  <a:pos x="0" y="17"/>
                </a:cxn>
                <a:cxn ang="0">
                  <a:pos x="17" y="0"/>
                </a:cxn>
                <a:cxn ang="0">
                  <a:pos x="94" y="0"/>
                </a:cxn>
                <a:cxn ang="0">
                  <a:pos x="111" y="17"/>
                </a:cxn>
                <a:cxn ang="0">
                  <a:pos x="111" y="117"/>
                </a:cxn>
                <a:cxn ang="0">
                  <a:pos x="111" y="120"/>
                </a:cxn>
                <a:cxn ang="0">
                  <a:pos x="104" y="24"/>
                </a:cxn>
                <a:cxn ang="0">
                  <a:pos x="101" y="24"/>
                </a:cxn>
                <a:cxn ang="0">
                  <a:pos x="10" y="24"/>
                </a:cxn>
                <a:cxn ang="0">
                  <a:pos x="7" y="26"/>
                </a:cxn>
                <a:cxn ang="0">
                  <a:pos x="7" y="65"/>
                </a:cxn>
                <a:cxn ang="0">
                  <a:pos x="10" y="68"/>
                </a:cxn>
                <a:cxn ang="0">
                  <a:pos x="101" y="68"/>
                </a:cxn>
                <a:cxn ang="0">
                  <a:pos x="104" y="65"/>
                </a:cxn>
                <a:cxn ang="0">
                  <a:pos x="104" y="27"/>
                </a:cxn>
                <a:cxn ang="0">
                  <a:pos x="104" y="24"/>
                </a:cxn>
                <a:cxn ang="0">
                  <a:pos x="56" y="20"/>
                </a:cxn>
                <a:cxn ang="0">
                  <a:pos x="78" y="20"/>
                </a:cxn>
                <a:cxn ang="0">
                  <a:pos x="84" y="14"/>
                </a:cxn>
                <a:cxn ang="0">
                  <a:pos x="81" y="12"/>
                </a:cxn>
                <a:cxn ang="0">
                  <a:pos x="33" y="12"/>
                </a:cxn>
                <a:cxn ang="0">
                  <a:pos x="27" y="17"/>
                </a:cxn>
                <a:cxn ang="0">
                  <a:pos x="30" y="20"/>
                </a:cxn>
                <a:cxn ang="0">
                  <a:pos x="56" y="20"/>
                </a:cxn>
                <a:cxn ang="0">
                  <a:pos x="87" y="96"/>
                </a:cxn>
                <a:cxn ang="0">
                  <a:pos x="95" y="104"/>
                </a:cxn>
                <a:cxn ang="0">
                  <a:pos x="104" y="96"/>
                </a:cxn>
                <a:cxn ang="0">
                  <a:pos x="96" y="88"/>
                </a:cxn>
                <a:cxn ang="0">
                  <a:pos x="87" y="96"/>
                </a:cxn>
                <a:cxn ang="0">
                  <a:pos x="16" y="104"/>
                </a:cxn>
                <a:cxn ang="0">
                  <a:pos x="24" y="96"/>
                </a:cxn>
                <a:cxn ang="0">
                  <a:pos x="15" y="88"/>
                </a:cxn>
                <a:cxn ang="0">
                  <a:pos x="7" y="96"/>
                </a:cxn>
                <a:cxn ang="0">
                  <a:pos x="16" y="104"/>
                </a:cxn>
              </a:cxnLst>
              <a:rect l="0" t="0" r="r" b="b"/>
              <a:pathLst>
                <a:path w="111" h="140">
                  <a:moveTo>
                    <a:pt x="111" y="120"/>
                  </a:moveTo>
                  <a:cubicBezTo>
                    <a:pt x="109" y="120"/>
                    <a:pt x="107" y="120"/>
                    <a:pt x="105" y="120"/>
                  </a:cubicBezTo>
                  <a:cubicBezTo>
                    <a:pt x="104" y="119"/>
                    <a:pt x="103" y="120"/>
                    <a:pt x="103" y="121"/>
                  </a:cubicBezTo>
                  <a:cubicBezTo>
                    <a:pt x="103" y="125"/>
                    <a:pt x="103" y="128"/>
                    <a:pt x="103" y="131"/>
                  </a:cubicBezTo>
                  <a:cubicBezTo>
                    <a:pt x="103" y="136"/>
                    <a:pt x="100" y="140"/>
                    <a:pt x="95" y="139"/>
                  </a:cubicBezTo>
                  <a:cubicBezTo>
                    <a:pt x="91" y="139"/>
                    <a:pt x="88" y="136"/>
                    <a:pt x="88" y="131"/>
                  </a:cubicBezTo>
                  <a:cubicBezTo>
                    <a:pt x="88" y="127"/>
                    <a:pt x="88" y="124"/>
                    <a:pt x="88" y="120"/>
                  </a:cubicBezTo>
                  <a:cubicBezTo>
                    <a:pt x="66" y="120"/>
                    <a:pt x="45" y="120"/>
                    <a:pt x="24" y="120"/>
                  </a:cubicBezTo>
                  <a:cubicBezTo>
                    <a:pt x="23" y="121"/>
                    <a:pt x="23" y="122"/>
                    <a:pt x="23" y="122"/>
                  </a:cubicBezTo>
                  <a:cubicBezTo>
                    <a:pt x="23" y="126"/>
                    <a:pt x="23" y="129"/>
                    <a:pt x="23" y="133"/>
                  </a:cubicBezTo>
                  <a:cubicBezTo>
                    <a:pt x="23" y="137"/>
                    <a:pt x="20" y="139"/>
                    <a:pt x="15" y="139"/>
                  </a:cubicBezTo>
                  <a:cubicBezTo>
                    <a:pt x="11" y="139"/>
                    <a:pt x="8" y="137"/>
                    <a:pt x="8" y="133"/>
                  </a:cubicBezTo>
                  <a:cubicBezTo>
                    <a:pt x="8" y="129"/>
                    <a:pt x="8" y="126"/>
                    <a:pt x="8" y="123"/>
                  </a:cubicBezTo>
                  <a:cubicBezTo>
                    <a:pt x="8" y="122"/>
                    <a:pt x="8" y="121"/>
                    <a:pt x="8" y="120"/>
                  </a:cubicBezTo>
                  <a:cubicBezTo>
                    <a:pt x="5" y="120"/>
                    <a:pt x="2" y="120"/>
                    <a:pt x="0" y="120"/>
                  </a:cubicBezTo>
                  <a:cubicBezTo>
                    <a:pt x="0" y="118"/>
                    <a:pt x="0" y="117"/>
                    <a:pt x="0" y="117"/>
                  </a:cubicBezTo>
                  <a:cubicBezTo>
                    <a:pt x="0" y="83"/>
                    <a:pt x="0" y="50"/>
                    <a:pt x="0" y="17"/>
                  </a:cubicBezTo>
                  <a:cubicBezTo>
                    <a:pt x="0" y="7"/>
                    <a:pt x="7" y="0"/>
                    <a:pt x="17" y="0"/>
                  </a:cubicBezTo>
                  <a:cubicBezTo>
                    <a:pt x="43" y="0"/>
                    <a:pt x="68" y="0"/>
                    <a:pt x="94" y="0"/>
                  </a:cubicBezTo>
                  <a:cubicBezTo>
                    <a:pt x="105" y="0"/>
                    <a:pt x="111" y="6"/>
                    <a:pt x="111" y="17"/>
                  </a:cubicBezTo>
                  <a:cubicBezTo>
                    <a:pt x="111" y="50"/>
                    <a:pt x="111" y="84"/>
                    <a:pt x="111" y="117"/>
                  </a:cubicBezTo>
                  <a:cubicBezTo>
                    <a:pt x="111" y="118"/>
                    <a:pt x="111" y="118"/>
                    <a:pt x="111" y="120"/>
                  </a:cubicBezTo>
                  <a:close/>
                  <a:moveTo>
                    <a:pt x="104" y="24"/>
                  </a:moveTo>
                  <a:cubicBezTo>
                    <a:pt x="103" y="24"/>
                    <a:pt x="102" y="24"/>
                    <a:pt x="101" y="24"/>
                  </a:cubicBezTo>
                  <a:cubicBezTo>
                    <a:pt x="71" y="24"/>
                    <a:pt x="40" y="24"/>
                    <a:pt x="10" y="24"/>
                  </a:cubicBezTo>
                  <a:cubicBezTo>
                    <a:pt x="8" y="24"/>
                    <a:pt x="7" y="24"/>
                    <a:pt x="7" y="26"/>
                  </a:cubicBezTo>
                  <a:cubicBezTo>
                    <a:pt x="7" y="39"/>
                    <a:pt x="7" y="52"/>
                    <a:pt x="7" y="65"/>
                  </a:cubicBezTo>
                  <a:cubicBezTo>
                    <a:pt x="7" y="68"/>
                    <a:pt x="7" y="68"/>
                    <a:pt x="10" y="68"/>
                  </a:cubicBezTo>
                  <a:cubicBezTo>
                    <a:pt x="41" y="68"/>
                    <a:pt x="71" y="68"/>
                    <a:pt x="101" y="68"/>
                  </a:cubicBezTo>
                  <a:cubicBezTo>
                    <a:pt x="103" y="68"/>
                    <a:pt x="104" y="67"/>
                    <a:pt x="104" y="65"/>
                  </a:cubicBezTo>
                  <a:cubicBezTo>
                    <a:pt x="104" y="52"/>
                    <a:pt x="104" y="39"/>
                    <a:pt x="104" y="27"/>
                  </a:cubicBezTo>
                  <a:cubicBezTo>
                    <a:pt x="104" y="26"/>
                    <a:pt x="104" y="25"/>
                    <a:pt x="104" y="24"/>
                  </a:cubicBezTo>
                  <a:close/>
                  <a:moveTo>
                    <a:pt x="56" y="20"/>
                  </a:moveTo>
                  <a:cubicBezTo>
                    <a:pt x="63" y="20"/>
                    <a:pt x="71" y="20"/>
                    <a:pt x="78" y="20"/>
                  </a:cubicBezTo>
                  <a:cubicBezTo>
                    <a:pt x="84" y="20"/>
                    <a:pt x="84" y="20"/>
                    <a:pt x="84" y="14"/>
                  </a:cubicBezTo>
                  <a:cubicBezTo>
                    <a:pt x="84" y="12"/>
                    <a:pt x="83" y="12"/>
                    <a:pt x="81" y="12"/>
                  </a:cubicBezTo>
                  <a:cubicBezTo>
                    <a:pt x="65" y="12"/>
                    <a:pt x="49" y="12"/>
                    <a:pt x="33" y="12"/>
                  </a:cubicBezTo>
                  <a:cubicBezTo>
                    <a:pt x="27" y="12"/>
                    <a:pt x="27" y="12"/>
                    <a:pt x="27" y="17"/>
                  </a:cubicBezTo>
                  <a:cubicBezTo>
                    <a:pt x="27" y="20"/>
                    <a:pt x="28" y="20"/>
                    <a:pt x="30" y="20"/>
                  </a:cubicBezTo>
                  <a:cubicBezTo>
                    <a:pt x="39" y="20"/>
                    <a:pt x="47" y="20"/>
                    <a:pt x="56" y="20"/>
                  </a:cubicBezTo>
                  <a:close/>
                  <a:moveTo>
                    <a:pt x="87" y="96"/>
                  </a:moveTo>
                  <a:cubicBezTo>
                    <a:pt x="87" y="100"/>
                    <a:pt x="91" y="104"/>
                    <a:pt x="95" y="104"/>
                  </a:cubicBezTo>
                  <a:cubicBezTo>
                    <a:pt x="100" y="104"/>
                    <a:pt x="104" y="100"/>
                    <a:pt x="104" y="96"/>
                  </a:cubicBezTo>
                  <a:cubicBezTo>
                    <a:pt x="104" y="91"/>
                    <a:pt x="100" y="88"/>
                    <a:pt x="96" y="88"/>
                  </a:cubicBezTo>
                  <a:cubicBezTo>
                    <a:pt x="91" y="88"/>
                    <a:pt x="87" y="91"/>
                    <a:pt x="87" y="96"/>
                  </a:cubicBezTo>
                  <a:close/>
                  <a:moveTo>
                    <a:pt x="16" y="104"/>
                  </a:moveTo>
                  <a:cubicBezTo>
                    <a:pt x="20" y="104"/>
                    <a:pt x="24" y="100"/>
                    <a:pt x="24" y="96"/>
                  </a:cubicBezTo>
                  <a:cubicBezTo>
                    <a:pt x="24" y="91"/>
                    <a:pt x="20" y="87"/>
                    <a:pt x="15" y="88"/>
                  </a:cubicBezTo>
                  <a:cubicBezTo>
                    <a:pt x="11" y="88"/>
                    <a:pt x="7" y="91"/>
                    <a:pt x="7" y="96"/>
                  </a:cubicBezTo>
                  <a:cubicBezTo>
                    <a:pt x="7" y="100"/>
                    <a:pt x="11" y="104"/>
                    <a:pt x="16" y="10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84"/>
            <p:cNvSpPr>
              <a:spLocks noEditPoints="1"/>
            </p:cNvSpPr>
            <p:nvPr/>
          </p:nvSpPr>
          <p:spPr bwMode="auto">
            <a:xfrm>
              <a:off x="14712726" y="-381000"/>
              <a:ext cx="385763" cy="360363"/>
            </a:xfrm>
            <a:custGeom>
              <a:avLst/>
              <a:gdLst/>
              <a:ahLst/>
              <a:cxnLst>
                <a:cxn ang="0">
                  <a:pos x="8" y="76"/>
                </a:cxn>
                <a:cxn ang="0">
                  <a:pos x="2" y="76"/>
                </a:cxn>
                <a:cxn ang="0">
                  <a:pos x="0" y="74"/>
                </a:cxn>
                <a:cxn ang="0">
                  <a:pos x="0" y="50"/>
                </a:cxn>
                <a:cxn ang="0">
                  <a:pos x="8" y="38"/>
                </a:cxn>
                <a:cxn ang="0">
                  <a:pos x="10" y="35"/>
                </a:cxn>
                <a:cxn ang="0">
                  <a:pos x="16" y="15"/>
                </a:cxn>
                <a:cxn ang="0">
                  <a:pos x="25" y="8"/>
                </a:cxn>
                <a:cxn ang="0">
                  <a:pos x="37" y="8"/>
                </a:cxn>
                <a:cxn ang="0">
                  <a:pos x="40" y="5"/>
                </a:cxn>
                <a:cxn ang="0">
                  <a:pos x="40" y="0"/>
                </a:cxn>
                <a:cxn ang="0">
                  <a:pos x="42" y="0"/>
                </a:cxn>
                <a:cxn ang="0">
                  <a:pos x="61" y="0"/>
                </a:cxn>
                <a:cxn ang="0">
                  <a:pos x="63" y="2"/>
                </a:cxn>
                <a:cxn ang="0">
                  <a:pos x="69" y="8"/>
                </a:cxn>
                <a:cxn ang="0">
                  <a:pos x="79" y="8"/>
                </a:cxn>
                <a:cxn ang="0">
                  <a:pos x="87" y="14"/>
                </a:cxn>
                <a:cxn ang="0">
                  <a:pos x="93" y="35"/>
                </a:cxn>
                <a:cxn ang="0">
                  <a:pos x="95" y="38"/>
                </a:cxn>
                <a:cxn ang="0">
                  <a:pos x="103" y="52"/>
                </a:cxn>
                <a:cxn ang="0">
                  <a:pos x="103" y="73"/>
                </a:cxn>
                <a:cxn ang="0">
                  <a:pos x="103" y="76"/>
                </a:cxn>
                <a:cxn ang="0">
                  <a:pos x="97" y="76"/>
                </a:cxn>
                <a:cxn ang="0">
                  <a:pos x="95" y="78"/>
                </a:cxn>
                <a:cxn ang="0">
                  <a:pos x="95" y="88"/>
                </a:cxn>
                <a:cxn ang="0">
                  <a:pos x="87" y="95"/>
                </a:cxn>
                <a:cxn ang="0">
                  <a:pos x="80" y="88"/>
                </a:cxn>
                <a:cxn ang="0">
                  <a:pos x="80" y="76"/>
                </a:cxn>
                <a:cxn ang="0">
                  <a:pos x="77" y="76"/>
                </a:cxn>
                <a:cxn ang="0">
                  <a:pos x="26" y="76"/>
                </a:cxn>
                <a:cxn ang="0">
                  <a:pos x="23" y="78"/>
                </a:cxn>
                <a:cxn ang="0">
                  <a:pos x="23" y="88"/>
                </a:cxn>
                <a:cxn ang="0">
                  <a:pos x="16" y="95"/>
                </a:cxn>
                <a:cxn ang="0">
                  <a:pos x="8" y="88"/>
                </a:cxn>
                <a:cxn ang="0">
                  <a:pos x="8" y="76"/>
                </a:cxn>
                <a:cxn ang="0">
                  <a:pos x="85" y="36"/>
                </a:cxn>
                <a:cxn ang="0">
                  <a:pos x="80" y="17"/>
                </a:cxn>
                <a:cxn ang="0">
                  <a:pos x="78" y="16"/>
                </a:cxn>
                <a:cxn ang="0">
                  <a:pos x="25" y="16"/>
                </a:cxn>
                <a:cxn ang="0">
                  <a:pos x="23" y="17"/>
                </a:cxn>
                <a:cxn ang="0">
                  <a:pos x="19" y="31"/>
                </a:cxn>
                <a:cxn ang="0">
                  <a:pos x="18" y="36"/>
                </a:cxn>
                <a:cxn ang="0">
                  <a:pos x="85" y="36"/>
                </a:cxn>
                <a:cxn ang="0">
                  <a:pos x="7" y="52"/>
                </a:cxn>
                <a:cxn ang="0">
                  <a:pos x="15" y="60"/>
                </a:cxn>
                <a:cxn ang="0">
                  <a:pos x="24" y="52"/>
                </a:cxn>
                <a:cxn ang="0">
                  <a:pos x="15" y="44"/>
                </a:cxn>
                <a:cxn ang="0">
                  <a:pos x="7" y="52"/>
                </a:cxn>
                <a:cxn ang="0">
                  <a:pos x="79" y="52"/>
                </a:cxn>
                <a:cxn ang="0">
                  <a:pos x="88" y="60"/>
                </a:cxn>
                <a:cxn ang="0">
                  <a:pos x="96" y="52"/>
                </a:cxn>
                <a:cxn ang="0">
                  <a:pos x="87" y="44"/>
                </a:cxn>
                <a:cxn ang="0">
                  <a:pos x="79" y="52"/>
                </a:cxn>
              </a:cxnLst>
              <a:rect l="0" t="0" r="r" b="b"/>
              <a:pathLst>
                <a:path w="103" h="96">
                  <a:moveTo>
                    <a:pt x="8" y="76"/>
                  </a:moveTo>
                  <a:cubicBezTo>
                    <a:pt x="5" y="76"/>
                    <a:pt x="3" y="76"/>
                    <a:pt x="2" y="76"/>
                  </a:cubicBezTo>
                  <a:cubicBezTo>
                    <a:pt x="0" y="76"/>
                    <a:pt x="0" y="75"/>
                    <a:pt x="0" y="74"/>
                  </a:cubicBezTo>
                  <a:cubicBezTo>
                    <a:pt x="0" y="66"/>
                    <a:pt x="0" y="58"/>
                    <a:pt x="0" y="50"/>
                  </a:cubicBezTo>
                  <a:cubicBezTo>
                    <a:pt x="0" y="45"/>
                    <a:pt x="3" y="41"/>
                    <a:pt x="8" y="38"/>
                  </a:cubicBezTo>
                  <a:cubicBezTo>
                    <a:pt x="9" y="37"/>
                    <a:pt x="10" y="36"/>
                    <a:pt x="10" y="35"/>
                  </a:cubicBezTo>
                  <a:cubicBezTo>
                    <a:pt x="12" y="28"/>
                    <a:pt x="14" y="22"/>
                    <a:pt x="16" y="15"/>
                  </a:cubicBezTo>
                  <a:cubicBezTo>
                    <a:pt x="17" y="10"/>
                    <a:pt x="19" y="8"/>
                    <a:pt x="25" y="8"/>
                  </a:cubicBezTo>
                  <a:cubicBezTo>
                    <a:pt x="29" y="8"/>
                    <a:pt x="33" y="8"/>
                    <a:pt x="37" y="8"/>
                  </a:cubicBezTo>
                  <a:cubicBezTo>
                    <a:pt x="39" y="8"/>
                    <a:pt x="40" y="7"/>
                    <a:pt x="40" y="5"/>
                  </a:cubicBezTo>
                  <a:cubicBezTo>
                    <a:pt x="40" y="4"/>
                    <a:pt x="40" y="2"/>
                    <a:pt x="40" y="0"/>
                  </a:cubicBezTo>
                  <a:cubicBezTo>
                    <a:pt x="40" y="0"/>
                    <a:pt x="41" y="0"/>
                    <a:pt x="42" y="0"/>
                  </a:cubicBezTo>
                  <a:cubicBezTo>
                    <a:pt x="48" y="0"/>
                    <a:pt x="55" y="0"/>
                    <a:pt x="61" y="0"/>
                  </a:cubicBezTo>
                  <a:cubicBezTo>
                    <a:pt x="63" y="0"/>
                    <a:pt x="63" y="1"/>
                    <a:pt x="63" y="2"/>
                  </a:cubicBezTo>
                  <a:cubicBezTo>
                    <a:pt x="63" y="8"/>
                    <a:pt x="63" y="8"/>
                    <a:pt x="69" y="8"/>
                  </a:cubicBezTo>
                  <a:cubicBezTo>
                    <a:pt x="73" y="8"/>
                    <a:pt x="76" y="8"/>
                    <a:pt x="79" y="8"/>
                  </a:cubicBezTo>
                  <a:cubicBezTo>
                    <a:pt x="83" y="8"/>
                    <a:pt x="86" y="10"/>
                    <a:pt x="87" y="14"/>
                  </a:cubicBezTo>
                  <a:cubicBezTo>
                    <a:pt x="89" y="21"/>
                    <a:pt x="91" y="28"/>
                    <a:pt x="93" y="35"/>
                  </a:cubicBezTo>
                  <a:cubicBezTo>
                    <a:pt x="93" y="36"/>
                    <a:pt x="94" y="37"/>
                    <a:pt x="95" y="38"/>
                  </a:cubicBezTo>
                  <a:cubicBezTo>
                    <a:pt x="100" y="41"/>
                    <a:pt x="103" y="46"/>
                    <a:pt x="103" y="52"/>
                  </a:cubicBezTo>
                  <a:cubicBezTo>
                    <a:pt x="103" y="59"/>
                    <a:pt x="103" y="66"/>
                    <a:pt x="103" y="73"/>
                  </a:cubicBezTo>
                  <a:cubicBezTo>
                    <a:pt x="103" y="74"/>
                    <a:pt x="103" y="75"/>
                    <a:pt x="103" y="76"/>
                  </a:cubicBezTo>
                  <a:cubicBezTo>
                    <a:pt x="101" y="76"/>
                    <a:pt x="99" y="76"/>
                    <a:pt x="97" y="76"/>
                  </a:cubicBezTo>
                  <a:cubicBezTo>
                    <a:pt x="96" y="75"/>
                    <a:pt x="95" y="76"/>
                    <a:pt x="95" y="78"/>
                  </a:cubicBezTo>
                  <a:cubicBezTo>
                    <a:pt x="95" y="81"/>
                    <a:pt x="95" y="84"/>
                    <a:pt x="95" y="88"/>
                  </a:cubicBezTo>
                  <a:cubicBezTo>
                    <a:pt x="95" y="92"/>
                    <a:pt x="92" y="96"/>
                    <a:pt x="87" y="95"/>
                  </a:cubicBezTo>
                  <a:cubicBezTo>
                    <a:pt x="83" y="95"/>
                    <a:pt x="80" y="92"/>
                    <a:pt x="80" y="88"/>
                  </a:cubicBezTo>
                  <a:cubicBezTo>
                    <a:pt x="80" y="84"/>
                    <a:pt x="80" y="80"/>
                    <a:pt x="80" y="76"/>
                  </a:cubicBezTo>
                  <a:cubicBezTo>
                    <a:pt x="79" y="76"/>
                    <a:pt x="78" y="76"/>
                    <a:pt x="77" y="76"/>
                  </a:cubicBezTo>
                  <a:cubicBezTo>
                    <a:pt x="60" y="76"/>
                    <a:pt x="43" y="76"/>
                    <a:pt x="26" y="76"/>
                  </a:cubicBezTo>
                  <a:cubicBezTo>
                    <a:pt x="24" y="76"/>
                    <a:pt x="23" y="76"/>
                    <a:pt x="23" y="78"/>
                  </a:cubicBezTo>
                  <a:cubicBezTo>
                    <a:pt x="23" y="82"/>
                    <a:pt x="23" y="85"/>
                    <a:pt x="23" y="88"/>
                  </a:cubicBezTo>
                  <a:cubicBezTo>
                    <a:pt x="23" y="92"/>
                    <a:pt x="20" y="95"/>
                    <a:pt x="16" y="95"/>
                  </a:cubicBezTo>
                  <a:cubicBezTo>
                    <a:pt x="11" y="96"/>
                    <a:pt x="8" y="92"/>
                    <a:pt x="8" y="88"/>
                  </a:cubicBezTo>
                  <a:cubicBezTo>
                    <a:pt x="8" y="84"/>
                    <a:pt x="8" y="80"/>
                    <a:pt x="8" y="76"/>
                  </a:cubicBezTo>
                  <a:close/>
                  <a:moveTo>
                    <a:pt x="85" y="36"/>
                  </a:moveTo>
                  <a:cubicBezTo>
                    <a:pt x="83" y="29"/>
                    <a:pt x="82" y="23"/>
                    <a:pt x="80" y="17"/>
                  </a:cubicBezTo>
                  <a:cubicBezTo>
                    <a:pt x="80" y="16"/>
                    <a:pt x="79" y="16"/>
                    <a:pt x="78" y="16"/>
                  </a:cubicBezTo>
                  <a:cubicBezTo>
                    <a:pt x="60" y="16"/>
                    <a:pt x="43" y="16"/>
                    <a:pt x="25" y="16"/>
                  </a:cubicBezTo>
                  <a:cubicBezTo>
                    <a:pt x="24" y="16"/>
                    <a:pt x="23" y="16"/>
                    <a:pt x="23" y="17"/>
                  </a:cubicBezTo>
                  <a:cubicBezTo>
                    <a:pt x="22" y="22"/>
                    <a:pt x="21" y="26"/>
                    <a:pt x="19" y="31"/>
                  </a:cubicBezTo>
                  <a:cubicBezTo>
                    <a:pt x="19" y="32"/>
                    <a:pt x="19" y="34"/>
                    <a:pt x="18" y="36"/>
                  </a:cubicBezTo>
                  <a:cubicBezTo>
                    <a:pt x="41" y="36"/>
                    <a:pt x="63" y="36"/>
                    <a:pt x="85" y="36"/>
                  </a:cubicBezTo>
                  <a:close/>
                  <a:moveTo>
                    <a:pt x="7" y="52"/>
                  </a:moveTo>
                  <a:cubicBezTo>
                    <a:pt x="7" y="56"/>
                    <a:pt x="11" y="60"/>
                    <a:pt x="15" y="60"/>
                  </a:cubicBezTo>
                  <a:cubicBezTo>
                    <a:pt x="20" y="60"/>
                    <a:pt x="24" y="56"/>
                    <a:pt x="24" y="52"/>
                  </a:cubicBezTo>
                  <a:cubicBezTo>
                    <a:pt x="24" y="47"/>
                    <a:pt x="20" y="43"/>
                    <a:pt x="15" y="44"/>
                  </a:cubicBezTo>
                  <a:cubicBezTo>
                    <a:pt x="11" y="44"/>
                    <a:pt x="7" y="47"/>
                    <a:pt x="7" y="52"/>
                  </a:cubicBezTo>
                  <a:close/>
                  <a:moveTo>
                    <a:pt x="79" y="52"/>
                  </a:moveTo>
                  <a:cubicBezTo>
                    <a:pt x="79" y="56"/>
                    <a:pt x="83" y="60"/>
                    <a:pt x="88" y="60"/>
                  </a:cubicBezTo>
                  <a:cubicBezTo>
                    <a:pt x="92" y="60"/>
                    <a:pt x="96" y="56"/>
                    <a:pt x="96" y="52"/>
                  </a:cubicBezTo>
                  <a:cubicBezTo>
                    <a:pt x="96" y="47"/>
                    <a:pt x="92" y="43"/>
                    <a:pt x="87" y="44"/>
                  </a:cubicBezTo>
                  <a:cubicBezTo>
                    <a:pt x="83" y="44"/>
                    <a:pt x="79" y="47"/>
                    <a:pt x="79"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3" name="Freeform 56"/>
          <p:cNvSpPr>
            <a:spLocks/>
          </p:cNvSpPr>
          <p:nvPr/>
        </p:nvSpPr>
        <p:spPr bwMode="auto">
          <a:xfrm>
            <a:off x="1292552" y="5508715"/>
            <a:ext cx="374986" cy="370979"/>
          </a:xfrm>
          <a:custGeom>
            <a:avLst/>
            <a:gdLst/>
            <a:ahLst/>
            <a:cxnLst>
              <a:cxn ang="0">
                <a:pos x="59" y="188"/>
              </a:cxn>
              <a:cxn ang="0">
                <a:pos x="58" y="185"/>
              </a:cxn>
              <a:cxn ang="0">
                <a:pos x="43" y="156"/>
              </a:cxn>
              <a:cxn ang="0">
                <a:pos x="40" y="153"/>
              </a:cxn>
              <a:cxn ang="0">
                <a:pos x="11" y="138"/>
              </a:cxn>
              <a:cxn ang="0">
                <a:pos x="8" y="137"/>
              </a:cxn>
              <a:cxn ang="0">
                <a:pos x="22" y="123"/>
              </a:cxn>
              <a:cxn ang="0">
                <a:pos x="30" y="121"/>
              </a:cxn>
              <a:cxn ang="0">
                <a:pos x="52" y="125"/>
              </a:cxn>
              <a:cxn ang="0">
                <a:pos x="54" y="125"/>
              </a:cxn>
              <a:cxn ang="0">
                <a:pos x="89" y="90"/>
              </a:cxn>
              <a:cxn ang="0">
                <a:pos x="90" y="89"/>
              </a:cxn>
              <a:cxn ang="0">
                <a:pos x="0" y="43"/>
              </a:cxn>
              <a:cxn ang="0">
                <a:pos x="6" y="37"/>
              </a:cxn>
              <a:cxn ang="0">
                <a:pos x="15" y="28"/>
              </a:cxn>
              <a:cxn ang="0">
                <a:pos x="18" y="27"/>
              </a:cxn>
              <a:cxn ang="0">
                <a:pos x="111" y="49"/>
              </a:cxn>
              <a:cxn ang="0">
                <a:pos x="125" y="52"/>
              </a:cxn>
              <a:cxn ang="0">
                <a:pos x="128" y="51"/>
              </a:cxn>
              <a:cxn ang="0">
                <a:pos x="174" y="5"/>
              </a:cxn>
              <a:cxn ang="0">
                <a:pos x="188" y="2"/>
              </a:cxn>
              <a:cxn ang="0">
                <a:pos x="192" y="21"/>
              </a:cxn>
              <a:cxn ang="0">
                <a:pos x="161" y="52"/>
              </a:cxn>
              <a:cxn ang="0">
                <a:pos x="145" y="67"/>
              </a:cxn>
              <a:cxn ang="0">
                <a:pos x="144" y="71"/>
              </a:cxn>
              <a:cxn ang="0">
                <a:pos x="169" y="177"/>
              </a:cxn>
              <a:cxn ang="0">
                <a:pos x="168" y="180"/>
              </a:cxn>
              <a:cxn ang="0">
                <a:pos x="152" y="196"/>
              </a:cxn>
              <a:cxn ang="0">
                <a:pos x="107" y="106"/>
              </a:cxn>
              <a:cxn ang="0">
                <a:pos x="105" y="108"/>
              </a:cxn>
              <a:cxn ang="0">
                <a:pos x="72" y="141"/>
              </a:cxn>
              <a:cxn ang="0">
                <a:pos x="71" y="145"/>
              </a:cxn>
              <a:cxn ang="0">
                <a:pos x="75" y="169"/>
              </a:cxn>
              <a:cxn ang="0">
                <a:pos x="75" y="171"/>
              </a:cxn>
              <a:cxn ang="0">
                <a:pos x="59" y="188"/>
              </a:cxn>
            </a:cxnLst>
            <a:rect l="0" t="0" r="r" b="b"/>
            <a:pathLst>
              <a:path w="198" h="196">
                <a:moveTo>
                  <a:pt x="59" y="188"/>
                </a:moveTo>
                <a:cubicBezTo>
                  <a:pt x="59" y="187"/>
                  <a:pt x="58" y="186"/>
                  <a:pt x="58" y="185"/>
                </a:cubicBezTo>
                <a:cubicBezTo>
                  <a:pt x="53" y="175"/>
                  <a:pt x="48" y="166"/>
                  <a:pt x="43" y="156"/>
                </a:cubicBezTo>
                <a:cubicBezTo>
                  <a:pt x="43" y="155"/>
                  <a:pt x="41" y="153"/>
                  <a:pt x="40" y="153"/>
                </a:cubicBezTo>
                <a:cubicBezTo>
                  <a:pt x="30" y="148"/>
                  <a:pt x="21" y="143"/>
                  <a:pt x="11" y="138"/>
                </a:cubicBezTo>
                <a:cubicBezTo>
                  <a:pt x="10" y="138"/>
                  <a:pt x="9" y="137"/>
                  <a:pt x="8" y="137"/>
                </a:cubicBezTo>
                <a:cubicBezTo>
                  <a:pt x="13" y="132"/>
                  <a:pt x="18" y="128"/>
                  <a:pt x="22" y="123"/>
                </a:cubicBezTo>
                <a:cubicBezTo>
                  <a:pt x="24" y="121"/>
                  <a:pt x="26" y="120"/>
                  <a:pt x="30" y="121"/>
                </a:cubicBezTo>
                <a:cubicBezTo>
                  <a:pt x="37" y="123"/>
                  <a:pt x="44" y="124"/>
                  <a:pt x="52" y="125"/>
                </a:cubicBezTo>
                <a:cubicBezTo>
                  <a:pt x="53" y="126"/>
                  <a:pt x="54" y="125"/>
                  <a:pt x="54" y="125"/>
                </a:cubicBezTo>
                <a:cubicBezTo>
                  <a:pt x="66" y="113"/>
                  <a:pt x="78" y="101"/>
                  <a:pt x="89" y="90"/>
                </a:cubicBezTo>
                <a:cubicBezTo>
                  <a:pt x="90" y="89"/>
                  <a:pt x="90" y="89"/>
                  <a:pt x="90" y="89"/>
                </a:cubicBezTo>
                <a:cubicBezTo>
                  <a:pt x="60" y="74"/>
                  <a:pt x="30" y="59"/>
                  <a:pt x="0" y="43"/>
                </a:cubicBezTo>
                <a:cubicBezTo>
                  <a:pt x="2" y="41"/>
                  <a:pt x="4" y="39"/>
                  <a:pt x="6" y="37"/>
                </a:cubicBezTo>
                <a:cubicBezTo>
                  <a:pt x="9" y="34"/>
                  <a:pt x="12" y="31"/>
                  <a:pt x="15" y="28"/>
                </a:cubicBezTo>
                <a:cubicBezTo>
                  <a:pt x="16" y="27"/>
                  <a:pt x="17" y="27"/>
                  <a:pt x="18" y="27"/>
                </a:cubicBezTo>
                <a:cubicBezTo>
                  <a:pt x="49" y="34"/>
                  <a:pt x="80" y="42"/>
                  <a:pt x="111" y="49"/>
                </a:cubicBezTo>
                <a:cubicBezTo>
                  <a:pt x="116" y="50"/>
                  <a:pt x="120" y="51"/>
                  <a:pt x="125" y="52"/>
                </a:cubicBezTo>
                <a:cubicBezTo>
                  <a:pt x="126" y="52"/>
                  <a:pt x="127" y="52"/>
                  <a:pt x="128" y="51"/>
                </a:cubicBezTo>
                <a:cubicBezTo>
                  <a:pt x="144" y="35"/>
                  <a:pt x="159" y="20"/>
                  <a:pt x="174" y="5"/>
                </a:cubicBezTo>
                <a:cubicBezTo>
                  <a:pt x="178" y="1"/>
                  <a:pt x="183" y="0"/>
                  <a:pt x="188" y="2"/>
                </a:cubicBezTo>
                <a:cubicBezTo>
                  <a:pt x="196" y="5"/>
                  <a:pt x="198" y="15"/>
                  <a:pt x="192" y="21"/>
                </a:cubicBezTo>
                <a:cubicBezTo>
                  <a:pt x="182" y="31"/>
                  <a:pt x="171" y="41"/>
                  <a:pt x="161" y="52"/>
                </a:cubicBezTo>
                <a:cubicBezTo>
                  <a:pt x="156" y="57"/>
                  <a:pt x="151" y="62"/>
                  <a:pt x="145" y="67"/>
                </a:cubicBezTo>
                <a:cubicBezTo>
                  <a:pt x="144" y="69"/>
                  <a:pt x="144" y="70"/>
                  <a:pt x="144" y="71"/>
                </a:cubicBezTo>
                <a:cubicBezTo>
                  <a:pt x="152" y="107"/>
                  <a:pt x="160" y="142"/>
                  <a:pt x="169" y="177"/>
                </a:cubicBezTo>
                <a:cubicBezTo>
                  <a:pt x="169" y="178"/>
                  <a:pt x="169" y="180"/>
                  <a:pt x="168" y="180"/>
                </a:cubicBezTo>
                <a:cubicBezTo>
                  <a:pt x="163" y="186"/>
                  <a:pt x="158" y="191"/>
                  <a:pt x="152" y="196"/>
                </a:cubicBezTo>
                <a:cubicBezTo>
                  <a:pt x="137" y="166"/>
                  <a:pt x="122" y="136"/>
                  <a:pt x="107" y="106"/>
                </a:cubicBezTo>
                <a:cubicBezTo>
                  <a:pt x="106" y="107"/>
                  <a:pt x="106" y="107"/>
                  <a:pt x="105" y="108"/>
                </a:cubicBezTo>
                <a:cubicBezTo>
                  <a:pt x="94" y="119"/>
                  <a:pt x="83" y="130"/>
                  <a:pt x="72" y="141"/>
                </a:cubicBezTo>
                <a:cubicBezTo>
                  <a:pt x="71" y="142"/>
                  <a:pt x="70" y="143"/>
                  <a:pt x="71" y="145"/>
                </a:cubicBezTo>
                <a:cubicBezTo>
                  <a:pt x="72" y="153"/>
                  <a:pt x="74" y="161"/>
                  <a:pt x="75" y="169"/>
                </a:cubicBezTo>
                <a:cubicBezTo>
                  <a:pt x="76" y="170"/>
                  <a:pt x="76" y="171"/>
                  <a:pt x="75" y="171"/>
                </a:cubicBezTo>
                <a:cubicBezTo>
                  <a:pt x="70" y="177"/>
                  <a:pt x="65" y="182"/>
                  <a:pt x="59" y="18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74"/>
          <p:cNvSpPr>
            <a:spLocks noEditPoints="1"/>
          </p:cNvSpPr>
          <p:nvPr/>
        </p:nvSpPr>
        <p:spPr bwMode="auto">
          <a:xfrm>
            <a:off x="2338050" y="5014167"/>
            <a:ext cx="227886" cy="273711"/>
          </a:xfrm>
          <a:custGeom>
            <a:avLst/>
            <a:gdLst/>
            <a:ahLst/>
            <a:cxnLst>
              <a:cxn ang="0">
                <a:pos x="1160" y="629"/>
              </a:cxn>
              <a:cxn ang="0">
                <a:pos x="985" y="688"/>
              </a:cxn>
              <a:cxn ang="0">
                <a:pos x="835" y="791"/>
              </a:cxn>
              <a:cxn ang="0">
                <a:pos x="718" y="932"/>
              </a:cxn>
              <a:cxn ang="0">
                <a:pos x="643" y="1099"/>
              </a:cxn>
              <a:cxn ang="0">
                <a:pos x="616" y="1288"/>
              </a:cxn>
              <a:cxn ang="0">
                <a:pos x="643" y="1477"/>
              </a:cxn>
              <a:cxn ang="0">
                <a:pos x="718" y="1645"/>
              </a:cxn>
              <a:cxn ang="0">
                <a:pos x="835" y="1784"/>
              </a:cxn>
              <a:cxn ang="0">
                <a:pos x="985" y="1887"/>
              </a:cxn>
              <a:cxn ang="0">
                <a:pos x="1160" y="1948"/>
              </a:cxn>
              <a:cxn ang="0">
                <a:pos x="1353" y="1957"/>
              </a:cxn>
              <a:cxn ang="0">
                <a:pos x="1536" y="1913"/>
              </a:cxn>
              <a:cxn ang="0">
                <a:pos x="1694" y="1823"/>
              </a:cxn>
              <a:cxn ang="0">
                <a:pos x="1823" y="1695"/>
              </a:cxn>
              <a:cxn ang="0">
                <a:pos x="1914" y="1535"/>
              </a:cxn>
              <a:cxn ang="0">
                <a:pos x="1957" y="1353"/>
              </a:cxn>
              <a:cxn ang="0">
                <a:pos x="1948" y="1161"/>
              </a:cxn>
              <a:cxn ang="0">
                <a:pos x="1888" y="985"/>
              </a:cxn>
              <a:cxn ang="0">
                <a:pos x="1784" y="835"/>
              </a:cxn>
              <a:cxn ang="0">
                <a:pos x="1644" y="719"/>
              </a:cxn>
              <a:cxn ang="0">
                <a:pos x="1477" y="643"/>
              </a:cxn>
              <a:cxn ang="0">
                <a:pos x="1288" y="616"/>
              </a:cxn>
              <a:cxn ang="0">
                <a:pos x="1452" y="11"/>
              </a:cxn>
              <a:cxn ang="0">
                <a:pos x="1694" y="66"/>
              </a:cxn>
              <a:cxn ang="0">
                <a:pos x="1924" y="168"/>
              </a:cxn>
              <a:cxn ang="0">
                <a:pos x="2134" y="317"/>
              </a:cxn>
              <a:cxn ang="0">
                <a:pos x="2314" y="509"/>
              </a:cxn>
              <a:cxn ang="0">
                <a:pos x="2448" y="726"/>
              </a:cxn>
              <a:cxn ang="0">
                <a:pos x="2534" y="961"/>
              </a:cxn>
              <a:cxn ang="0">
                <a:pos x="2574" y="1205"/>
              </a:cxn>
              <a:cxn ang="0">
                <a:pos x="2565" y="1453"/>
              </a:cxn>
              <a:cxn ang="0">
                <a:pos x="2511" y="1694"/>
              </a:cxn>
              <a:cxn ang="0">
                <a:pos x="2409" y="1924"/>
              </a:cxn>
              <a:cxn ang="0">
                <a:pos x="2259" y="2134"/>
              </a:cxn>
              <a:cxn ang="0">
                <a:pos x="377" y="2199"/>
              </a:cxn>
              <a:cxn ang="0">
                <a:pos x="212" y="1997"/>
              </a:cxn>
              <a:cxn ang="0">
                <a:pos x="94" y="1772"/>
              </a:cxn>
              <a:cxn ang="0">
                <a:pos x="24" y="1534"/>
              </a:cxn>
              <a:cxn ang="0">
                <a:pos x="0" y="1288"/>
              </a:cxn>
              <a:cxn ang="0">
                <a:pos x="24" y="1042"/>
              </a:cxn>
              <a:cxn ang="0">
                <a:pos x="94" y="803"/>
              </a:cxn>
              <a:cxn ang="0">
                <a:pos x="212" y="580"/>
              </a:cxn>
              <a:cxn ang="0">
                <a:pos x="377" y="378"/>
              </a:cxn>
              <a:cxn ang="0">
                <a:pos x="579" y="213"/>
              </a:cxn>
              <a:cxn ang="0">
                <a:pos x="804" y="94"/>
              </a:cxn>
              <a:cxn ang="0">
                <a:pos x="1041" y="24"/>
              </a:cxn>
              <a:cxn ang="0">
                <a:pos x="1287" y="0"/>
              </a:cxn>
            </a:cxnLst>
            <a:rect l="0" t="0" r="r" b="b"/>
            <a:pathLst>
              <a:path w="2576" h="3095">
                <a:moveTo>
                  <a:pt x="1288" y="616"/>
                </a:moveTo>
                <a:lnTo>
                  <a:pt x="1223" y="619"/>
                </a:lnTo>
                <a:lnTo>
                  <a:pt x="1160" y="629"/>
                </a:lnTo>
                <a:lnTo>
                  <a:pt x="1099" y="643"/>
                </a:lnTo>
                <a:lnTo>
                  <a:pt x="1040" y="663"/>
                </a:lnTo>
                <a:lnTo>
                  <a:pt x="985" y="688"/>
                </a:lnTo>
                <a:lnTo>
                  <a:pt x="932" y="719"/>
                </a:lnTo>
                <a:lnTo>
                  <a:pt x="882" y="753"/>
                </a:lnTo>
                <a:lnTo>
                  <a:pt x="835" y="791"/>
                </a:lnTo>
                <a:lnTo>
                  <a:pt x="792" y="835"/>
                </a:lnTo>
                <a:lnTo>
                  <a:pt x="753" y="882"/>
                </a:lnTo>
                <a:lnTo>
                  <a:pt x="718" y="932"/>
                </a:lnTo>
                <a:lnTo>
                  <a:pt x="688" y="985"/>
                </a:lnTo>
                <a:lnTo>
                  <a:pt x="662" y="1040"/>
                </a:lnTo>
                <a:lnTo>
                  <a:pt x="643" y="1099"/>
                </a:lnTo>
                <a:lnTo>
                  <a:pt x="628" y="1161"/>
                </a:lnTo>
                <a:lnTo>
                  <a:pt x="619" y="1224"/>
                </a:lnTo>
                <a:lnTo>
                  <a:pt x="616" y="1288"/>
                </a:lnTo>
                <a:lnTo>
                  <a:pt x="619" y="1353"/>
                </a:lnTo>
                <a:lnTo>
                  <a:pt x="628" y="1416"/>
                </a:lnTo>
                <a:lnTo>
                  <a:pt x="643" y="1477"/>
                </a:lnTo>
                <a:lnTo>
                  <a:pt x="662" y="1535"/>
                </a:lnTo>
                <a:lnTo>
                  <a:pt x="688" y="1592"/>
                </a:lnTo>
                <a:lnTo>
                  <a:pt x="718" y="1645"/>
                </a:lnTo>
                <a:lnTo>
                  <a:pt x="753" y="1695"/>
                </a:lnTo>
                <a:lnTo>
                  <a:pt x="792" y="1742"/>
                </a:lnTo>
                <a:lnTo>
                  <a:pt x="835" y="1784"/>
                </a:lnTo>
                <a:lnTo>
                  <a:pt x="882" y="1823"/>
                </a:lnTo>
                <a:lnTo>
                  <a:pt x="932" y="1858"/>
                </a:lnTo>
                <a:lnTo>
                  <a:pt x="985" y="1887"/>
                </a:lnTo>
                <a:lnTo>
                  <a:pt x="1040" y="1913"/>
                </a:lnTo>
                <a:lnTo>
                  <a:pt x="1099" y="1933"/>
                </a:lnTo>
                <a:lnTo>
                  <a:pt x="1160" y="1948"/>
                </a:lnTo>
                <a:lnTo>
                  <a:pt x="1223" y="1957"/>
                </a:lnTo>
                <a:lnTo>
                  <a:pt x="1288" y="1960"/>
                </a:lnTo>
                <a:lnTo>
                  <a:pt x="1353" y="1957"/>
                </a:lnTo>
                <a:lnTo>
                  <a:pt x="1416" y="1948"/>
                </a:lnTo>
                <a:lnTo>
                  <a:pt x="1477" y="1933"/>
                </a:lnTo>
                <a:lnTo>
                  <a:pt x="1536" y="1913"/>
                </a:lnTo>
                <a:lnTo>
                  <a:pt x="1591" y="1887"/>
                </a:lnTo>
                <a:lnTo>
                  <a:pt x="1644" y="1858"/>
                </a:lnTo>
                <a:lnTo>
                  <a:pt x="1694" y="1823"/>
                </a:lnTo>
                <a:lnTo>
                  <a:pt x="1741" y="1784"/>
                </a:lnTo>
                <a:lnTo>
                  <a:pt x="1784" y="1742"/>
                </a:lnTo>
                <a:lnTo>
                  <a:pt x="1823" y="1695"/>
                </a:lnTo>
                <a:lnTo>
                  <a:pt x="1858" y="1645"/>
                </a:lnTo>
                <a:lnTo>
                  <a:pt x="1888" y="1592"/>
                </a:lnTo>
                <a:lnTo>
                  <a:pt x="1914" y="1535"/>
                </a:lnTo>
                <a:lnTo>
                  <a:pt x="1933" y="1477"/>
                </a:lnTo>
                <a:lnTo>
                  <a:pt x="1948" y="1416"/>
                </a:lnTo>
                <a:lnTo>
                  <a:pt x="1957" y="1353"/>
                </a:lnTo>
                <a:lnTo>
                  <a:pt x="1960" y="1288"/>
                </a:lnTo>
                <a:lnTo>
                  <a:pt x="1957" y="1224"/>
                </a:lnTo>
                <a:lnTo>
                  <a:pt x="1948" y="1161"/>
                </a:lnTo>
                <a:lnTo>
                  <a:pt x="1933" y="1099"/>
                </a:lnTo>
                <a:lnTo>
                  <a:pt x="1914" y="1040"/>
                </a:lnTo>
                <a:lnTo>
                  <a:pt x="1888" y="985"/>
                </a:lnTo>
                <a:lnTo>
                  <a:pt x="1858" y="932"/>
                </a:lnTo>
                <a:lnTo>
                  <a:pt x="1823" y="882"/>
                </a:lnTo>
                <a:lnTo>
                  <a:pt x="1784" y="835"/>
                </a:lnTo>
                <a:lnTo>
                  <a:pt x="1741" y="791"/>
                </a:lnTo>
                <a:lnTo>
                  <a:pt x="1694" y="753"/>
                </a:lnTo>
                <a:lnTo>
                  <a:pt x="1644" y="719"/>
                </a:lnTo>
                <a:lnTo>
                  <a:pt x="1591" y="688"/>
                </a:lnTo>
                <a:lnTo>
                  <a:pt x="1536" y="663"/>
                </a:lnTo>
                <a:lnTo>
                  <a:pt x="1477" y="643"/>
                </a:lnTo>
                <a:lnTo>
                  <a:pt x="1416" y="629"/>
                </a:lnTo>
                <a:lnTo>
                  <a:pt x="1353" y="619"/>
                </a:lnTo>
                <a:lnTo>
                  <a:pt x="1288" y="616"/>
                </a:lnTo>
                <a:close/>
                <a:moveTo>
                  <a:pt x="1287" y="0"/>
                </a:moveTo>
                <a:lnTo>
                  <a:pt x="1371" y="3"/>
                </a:lnTo>
                <a:lnTo>
                  <a:pt x="1452" y="11"/>
                </a:lnTo>
                <a:lnTo>
                  <a:pt x="1535" y="24"/>
                </a:lnTo>
                <a:lnTo>
                  <a:pt x="1615" y="42"/>
                </a:lnTo>
                <a:lnTo>
                  <a:pt x="1694" y="66"/>
                </a:lnTo>
                <a:lnTo>
                  <a:pt x="1772" y="94"/>
                </a:lnTo>
                <a:lnTo>
                  <a:pt x="1849" y="128"/>
                </a:lnTo>
                <a:lnTo>
                  <a:pt x="1924" y="168"/>
                </a:lnTo>
                <a:lnTo>
                  <a:pt x="1997" y="213"/>
                </a:lnTo>
                <a:lnTo>
                  <a:pt x="2067" y="261"/>
                </a:lnTo>
                <a:lnTo>
                  <a:pt x="2134" y="317"/>
                </a:lnTo>
                <a:lnTo>
                  <a:pt x="2199" y="378"/>
                </a:lnTo>
                <a:lnTo>
                  <a:pt x="2259" y="442"/>
                </a:lnTo>
                <a:lnTo>
                  <a:pt x="2314" y="509"/>
                </a:lnTo>
                <a:lnTo>
                  <a:pt x="2364" y="580"/>
                </a:lnTo>
                <a:lnTo>
                  <a:pt x="2409" y="651"/>
                </a:lnTo>
                <a:lnTo>
                  <a:pt x="2448" y="726"/>
                </a:lnTo>
                <a:lnTo>
                  <a:pt x="2482" y="803"/>
                </a:lnTo>
                <a:lnTo>
                  <a:pt x="2511" y="882"/>
                </a:lnTo>
                <a:lnTo>
                  <a:pt x="2534" y="961"/>
                </a:lnTo>
                <a:lnTo>
                  <a:pt x="2552" y="1042"/>
                </a:lnTo>
                <a:lnTo>
                  <a:pt x="2565" y="1124"/>
                </a:lnTo>
                <a:lnTo>
                  <a:pt x="2574" y="1205"/>
                </a:lnTo>
                <a:lnTo>
                  <a:pt x="2576" y="1288"/>
                </a:lnTo>
                <a:lnTo>
                  <a:pt x="2574" y="1370"/>
                </a:lnTo>
                <a:lnTo>
                  <a:pt x="2565" y="1453"/>
                </a:lnTo>
                <a:lnTo>
                  <a:pt x="2552" y="1534"/>
                </a:lnTo>
                <a:lnTo>
                  <a:pt x="2534" y="1615"/>
                </a:lnTo>
                <a:lnTo>
                  <a:pt x="2511" y="1694"/>
                </a:lnTo>
                <a:lnTo>
                  <a:pt x="2482" y="1772"/>
                </a:lnTo>
                <a:lnTo>
                  <a:pt x="2448" y="1849"/>
                </a:lnTo>
                <a:lnTo>
                  <a:pt x="2409" y="1924"/>
                </a:lnTo>
                <a:lnTo>
                  <a:pt x="2364" y="1997"/>
                </a:lnTo>
                <a:lnTo>
                  <a:pt x="2314" y="2067"/>
                </a:lnTo>
                <a:lnTo>
                  <a:pt x="2259" y="2134"/>
                </a:lnTo>
                <a:lnTo>
                  <a:pt x="2199" y="2199"/>
                </a:lnTo>
                <a:lnTo>
                  <a:pt x="1288" y="3095"/>
                </a:lnTo>
                <a:lnTo>
                  <a:pt x="377" y="2199"/>
                </a:lnTo>
                <a:lnTo>
                  <a:pt x="317" y="2134"/>
                </a:lnTo>
                <a:lnTo>
                  <a:pt x="262" y="2067"/>
                </a:lnTo>
                <a:lnTo>
                  <a:pt x="212" y="1997"/>
                </a:lnTo>
                <a:lnTo>
                  <a:pt x="167" y="1924"/>
                </a:lnTo>
                <a:lnTo>
                  <a:pt x="128" y="1849"/>
                </a:lnTo>
                <a:lnTo>
                  <a:pt x="94" y="1772"/>
                </a:lnTo>
                <a:lnTo>
                  <a:pt x="65" y="1694"/>
                </a:lnTo>
                <a:lnTo>
                  <a:pt x="42" y="1615"/>
                </a:lnTo>
                <a:lnTo>
                  <a:pt x="24" y="1534"/>
                </a:lnTo>
                <a:lnTo>
                  <a:pt x="11" y="1453"/>
                </a:lnTo>
                <a:lnTo>
                  <a:pt x="2" y="1370"/>
                </a:lnTo>
                <a:lnTo>
                  <a:pt x="0" y="1288"/>
                </a:lnTo>
                <a:lnTo>
                  <a:pt x="2" y="1205"/>
                </a:lnTo>
                <a:lnTo>
                  <a:pt x="11" y="1124"/>
                </a:lnTo>
                <a:lnTo>
                  <a:pt x="24" y="1042"/>
                </a:lnTo>
                <a:lnTo>
                  <a:pt x="42" y="961"/>
                </a:lnTo>
                <a:lnTo>
                  <a:pt x="65" y="882"/>
                </a:lnTo>
                <a:lnTo>
                  <a:pt x="94" y="803"/>
                </a:lnTo>
                <a:lnTo>
                  <a:pt x="128" y="726"/>
                </a:lnTo>
                <a:lnTo>
                  <a:pt x="167" y="651"/>
                </a:lnTo>
                <a:lnTo>
                  <a:pt x="212" y="580"/>
                </a:lnTo>
                <a:lnTo>
                  <a:pt x="262" y="509"/>
                </a:lnTo>
                <a:lnTo>
                  <a:pt x="317" y="442"/>
                </a:lnTo>
                <a:lnTo>
                  <a:pt x="377" y="378"/>
                </a:lnTo>
                <a:lnTo>
                  <a:pt x="442" y="317"/>
                </a:lnTo>
                <a:lnTo>
                  <a:pt x="509" y="261"/>
                </a:lnTo>
                <a:lnTo>
                  <a:pt x="579" y="213"/>
                </a:lnTo>
                <a:lnTo>
                  <a:pt x="652" y="168"/>
                </a:lnTo>
                <a:lnTo>
                  <a:pt x="727" y="128"/>
                </a:lnTo>
                <a:lnTo>
                  <a:pt x="804" y="94"/>
                </a:lnTo>
                <a:lnTo>
                  <a:pt x="882" y="66"/>
                </a:lnTo>
                <a:lnTo>
                  <a:pt x="961" y="42"/>
                </a:lnTo>
                <a:lnTo>
                  <a:pt x="1041" y="24"/>
                </a:lnTo>
                <a:lnTo>
                  <a:pt x="1124" y="11"/>
                </a:lnTo>
                <a:lnTo>
                  <a:pt x="1205" y="3"/>
                </a:lnTo>
                <a:lnTo>
                  <a:pt x="1287" y="0"/>
                </a:lnTo>
                <a:close/>
              </a:path>
            </a:pathLst>
          </a:custGeom>
          <a:solidFill>
            <a:srgbClr val="00338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87" name="Gruppieren 86"/>
          <p:cNvGrpSpPr/>
          <p:nvPr/>
        </p:nvGrpSpPr>
        <p:grpSpPr>
          <a:xfrm>
            <a:off x="2329869" y="4726762"/>
            <a:ext cx="244247" cy="244247"/>
            <a:chOff x="1500646" y="2452778"/>
            <a:chExt cx="711200" cy="711200"/>
          </a:xfrm>
          <a:solidFill>
            <a:srgbClr val="00338D"/>
          </a:solidFill>
        </p:grpSpPr>
        <p:sp>
          <p:nvSpPr>
            <p:cNvPr id="88" name="Freeform 15"/>
            <p:cNvSpPr>
              <a:spLocks noEditPoints="1"/>
            </p:cNvSpPr>
            <p:nvPr/>
          </p:nvSpPr>
          <p:spPr bwMode="auto">
            <a:xfrm>
              <a:off x="1500646" y="2452778"/>
              <a:ext cx="711200" cy="711200"/>
            </a:xfrm>
            <a:custGeom>
              <a:avLst/>
              <a:gdLst/>
              <a:ahLst/>
              <a:cxnLst>
                <a:cxn ang="0">
                  <a:pos x="1136" y="295"/>
                </a:cxn>
                <a:cxn ang="0">
                  <a:pos x="820" y="452"/>
                </a:cxn>
                <a:cxn ang="0">
                  <a:pos x="558" y="682"/>
                </a:cxn>
                <a:cxn ang="0">
                  <a:pos x="364" y="972"/>
                </a:cxn>
                <a:cxn ang="0">
                  <a:pos x="250" y="1310"/>
                </a:cxn>
                <a:cxn ang="0">
                  <a:pos x="234" y="1736"/>
                </a:cxn>
                <a:cxn ang="0">
                  <a:pos x="327" y="2083"/>
                </a:cxn>
                <a:cxn ang="0">
                  <a:pos x="503" y="2387"/>
                </a:cxn>
                <a:cxn ang="0">
                  <a:pos x="749" y="2633"/>
                </a:cxn>
                <a:cxn ang="0">
                  <a:pos x="1053" y="2809"/>
                </a:cxn>
                <a:cxn ang="0">
                  <a:pos x="1400" y="2902"/>
                </a:cxn>
                <a:cxn ang="0">
                  <a:pos x="1826" y="2886"/>
                </a:cxn>
                <a:cxn ang="0">
                  <a:pos x="2164" y="2772"/>
                </a:cxn>
                <a:cxn ang="0">
                  <a:pos x="2454" y="2578"/>
                </a:cxn>
                <a:cxn ang="0">
                  <a:pos x="2684" y="2316"/>
                </a:cxn>
                <a:cxn ang="0">
                  <a:pos x="2841" y="2000"/>
                </a:cxn>
                <a:cxn ang="0">
                  <a:pos x="2688" y="1736"/>
                </a:cxn>
                <a:cxn ang="0">
                  <a:pos x="2867" y="1222"/>
                </a:cxn>
                <a:cxn ang="0">
                  <a:pos x="2731" y="895"/>
                </a:cxn>
                <a:cxn ang="0">
                  <a:pos x="2518" y="618"/>
                </a:cxn>
                <a:cxn ang="0">
                  <a:pos x="2241" y="405"/>
                </a:cxn>
                <a:cxn ang="0">
                  <a:pos x="1914" y="269"/>
                </a:cxn>
                <a:cxn ang="0">
                  <a:pos x="1400" y="448"/>
                </a:cxn>
                <a:cxn ang="0">
                  <a:pos x="1772" y="13"/>
                </a:cxn>
                <a:cxn ang="0">
                  <a:pos x="2156" y="114"/>
                </a:cxn>
                <a:cxn ang="0">
                  <a:pos x="2494" y="303"/>
                </a:cxn>
                <a:cxn ang="0">
                  <a:pos x="2775" y="566"/>
                </a:cxn>
                <a:cxn ang="0">
                  <a:pos x="2983" y="891"/>
                </a:cxn>
                <a:cxn ang="0">
                  <a:pos x="3107" y="1264"/>
                </a:cxn>
                <a:cxn ang="0">
                  <a:pos x="3133" y="1671"/>
                </a:cxn>
                <a:cxn ang="0">
                  <a:pos x="3056" y="2063"/>
                </a:cxn>
                <a:cxn ang="0">
                  <a:pos x="2889" y="2414"/>
                </a:cxn>
                <a:cxn ang="0">
                  <a:pos x="2642" y="2711"/>
                </a:cxn>
                <a:cxn ang="0">
                  <a:pos x="2332" y="2938"/>
                </a:cxn>
                <a:cxn ang="0">
                  <a:pos x="1969" y="3084"/>
                </a:cxn>
                <a:cxn ang="0">
                  <a:pos x="1568" y="3136"/>
                </a:cxn>
                <a:cxn ang="0">
                  <a:pos x="1167" y="3084"/>
                </a:cxn>
                <a:cxn ang="0">
                  <a:pos x="804" y="2938"/>
                </a:cxn>
                <a:cxn ang="0">
                  <a:pos x="494" y="2711"/>
                </a:cxn>
                <a:cxn ang="0">
                  <a:pos x="247" y="2414"/>
                </a:cxn>
                <a:cxn ang="0">
                  <a:pos x="80" y="2063"/>
                </a:cxn>
                <a:cxn ang="0">
                  <a:pos x="3" y="1671"/>
                </a:cxn>
                <a:cxn ang="0">
                  <a:pos x="29" y="1264"/>
                </a:cxn>
                <a:cxn ang="0">
                  <a:pos x="153" y="891"/>
                </a:cxn>
                <a:cxn ang="0">
                  <a:pos x="361" y="566"/>
                </a:cxn>
                <a:cxn ang="0">
                  <a:pos x="642" y="303"/>
                </a:cxn>
                <a:cxn ang="0">
                  <a:pos x="980" y="114"/>
                </a:cxn>
                <a:cxn ang="0">
                  <a:pos x="1364" y="13"/>
                </a:cxn>
              </a:cxnLst>
              <a:rect l="0" t="0" r="r" b="b"/>
              <a:pathLst>
                <a:path w="3136" h="3136">
                  <a:moveTo>
                    <a:pt x="1400" y="234"/>
                  </a:moveTo>
                  <a:lnTo>
                    <a:pt x="1310" y="250"/>
                  </a:lnTo>
                  <a:lnTo>
                    <a:pt x="1222" y="269"/>
                  </a:lnTo>
                  <a:lnTo>
                    <a:pt x="1136" y="295"/>
                  </a:lnTo>
                  <a:lnTo>
                    <a:pt x="1053" y="327"/>
                  </a:lnTo>
                  <a:lnTo>
                    <a:pt x="972" y="364"/>
                  </a:lnTo>
                  <a:lnTo>
                    <a:pt x="895" y="405"/>
                  </a:lnTo>
                  <a:lnTo>
                    <a:pt x="820" y="452"/>
                  </a:lnTo>
                  <a:lnTo>
                    <a:pt x="749" y="503"/>
                  </a:lnTo>
                  <a:lnTo>
                    <a:pt x="682" y="558"/>
                  </a:lnTo>
                  <a:lnTo>
                    <a:pt x="618" y="618"/>
                  </a:lnTo>
                  <a:lnTo>
                    <a:pt x="558" y="682"/>
                  </a:lnTo>
                  <a:lnTo>
                    <a:pt x="503" y="749"/>
                  </a:lnTo>
                  <a:lnTo>
                    <a:pt x="452" y="820"/>
                  </a:lnTo>
                  <a:lnTo>
                    <a:pt x="405" y="895"/>
                  </a:lnTo>
                  <a:lnTo>
                    <a:pt x="364" y="972"/>
                  </a:lnTo>
                  <a:lnTo>
                    <a:pt x="327" y="1053"/>
                  </a:lnTo>
                  <a:lnTo>
                    <a:pt x="295" y="1136"/>
                  </a:lnTo>
                  <a:lnTo>
                    <a:pt x="269" y="1222"/>
                  </a:lnTo>
                  <a:lnTo>
                    <a:pt x="250" y="1310"/>
                  </a:lnTo>
                  <a:lnTo>
                    <a:pt x="234" y="1400"/>
                  </a:lnTo>
                  <a:lnTo>
                    <a:pt x="448" y="1400"/>
                  </a:lnTo>
                  <a:lnTo>
                    <a:pt x="448" y="1736"/>
                  </a:lnTo>
                  <a:lnTo>
                    <a:pt x="234" y="1736"/>
                  </a:lnTo>
                  <a:lnTo>
                    <a:pt x="250" y="1826"/>
                  </a:lnTo>
                  <a:lnTo>
                    <a:pt x="269" y="1914"/>
                  </a:lnTo>
                  <a:lnTo>
                    <a:pt x="295" y="2000"/>
                  </a:lnTo>
                  <a:lnTo>
                    <a:pt x="327" y="2083"/>
                  </a:lnTo>
                  <a:lnTo>
                    <a:pt x="364" y="2164"/>
                  </a:lnTo>
                  <a:lnTo>
                    <a:pt x="405" y="2241"/>
                  </a:lnTo>
                  <a:lnTo>
                    <a:pt x="452" y="2316"/>
                  </a:lnTo>
                  <a:lnTo>
                    <a:pt x="503" y="2387"/>
                  </a:lnTo>
                  <a:lnTo>
                    <a:pt x="558" y="2454"/>
                  </a:lnTo>
                  <a:lnTo>
                    <a:pt x="618" y="2518"/>
                  </a:lnTo>
                  <a:lnTo>
                    <a:pt x="682" y="2578"/>
                  </a:lnTo>
                  <a:lnTo>
                    <a:pt x="749" y="2633"/>
                  </a:lnTo>
                  <a:lnTo>
                    <a:pt x="820" y="2684"/>
                  </a:lnTo>
                  <a:lnTo>
                    <a:pt x="895" y="2731"/>
                  </a:lnTo>
                  <a:lnTo>
                    <a:pt x="972" y="2772"/>
                  </a:lnTo>
                  <a:lnTo>
                    <a:pt x="1053" y="2809"/>
                  </a:lnTo>
                  <a:lnTo>
                    <a:pt x="1136" y="2841"/>
                  </a:lnTo>
                  <a:lnTo>
                    <a:pt x="1222" y="2867"/>
                  </a:lnTo>
                  <a:lnTo>
                    <a:pt x="1310" y="2886"/>
                  </a:lnTo>
                  <a:lnTo>
                    <a:pt x="1400" y="2902"/>
                  </a:lnTo>
                  <a:lnTo>
                    <a:pt x="1400" y="2688"/>
                  </a:lnTo>
                  <a:lnTo>
                    <a:pt x="1736" y="2688"/>
                  </a:lnTo>
                  <a:lnTo>
                    <a:pt x="1736" y="2902"/>
                  </a:lnTo>
                  <a:lnTo>
                    <a:pt x="1826" y="2886"/>
                  </a:lnTo>
                  <a:lnTo>
                    <a:pt x="1914" y="2867"/>
                  </a:lnTo>
                  <a:lnTo>
                    <a:pt x="2000" y="2841"/>
                  </a:lnTo>
                  <a:lnTo>
                    <a:pt x="2083" y="2809"/>
                  </a:lnTo>
                  <a:lnTo>
                    <a:pt x="2164" y="2772"/>
                  </a:lnTo>
                  <a:lnTo>
                    <a:pt x="2241" y="2731"/>
                  </a:lnTo>
                  <a:lnTo>
                    <a:pt x="2316" y="2684"/>
                  </a:lnTo>
                  <a:lnTo>
                    <a:pt x="2387" y="2633"/>
                  </a:lnTo>
                  <a:lnTo>
                    <a:pt x="2454" y="2578"/>
                  </a:lnTo>
                  <a:lnTo>
                    <a:pt x="2518" y="2518"/>
                  </a:lnTo>
                  <a:lnTo>
                    <a:pt x="2578" y="2454"/>
                  </a:lnTo>
                  <a:lnTo>
                    <a:pt x="2633" y="2387"/>
                  </a:lnTo>
                  <a:lnTo>
                    <a:pt x="2684" y="2316"/>
                  </a:lnTo>
                  <a:lnTo>
                    <a:pt x="2731" y="2241"/>
                  </a:lnTo>
                  <a:lnTo>
                    <a:pt x="2772" y="2164"/>
                  </a:lnTo>
                  <a:lnTo>
                    <a:pt x="2809" y="2083"/>
                  </a:lnTo>
                  <a:lnTo>
                    <a:pt x="2841" y="2000"/>
                  </a:lnTo>
                  <a:lnTo>
                    <a:pt x="2867" y="1914"/>
                  </a:lnTo>
                  <a:lnTo>
                    <a:pt x="2886" y="1826"/>
                  </a:lnTo>
                  <a:lnTo>
                    <a:pt x="2902" y="1736"/>
                  </a:lnTo>
                  <a:lnTo>
                    <a:pt x="2688" y="1736"/>
                  </a:lnTo>
                  <a:lnTo>
                    <a:pt x="2688" y="1400"/>
                  </a:lnTo>
                  <a:lnTo>
                    <a:pt x="2902" y="1400"/>
                  </a:lnTo>
                  <a:lnTo>
                    <a:pt x="2886" y="1310"/>
                  </a:lnTo>
                  <a:lnTo>
                    <a:pt x="2867" y="1222"/>
                  </a:lnTo>
                  <a:lnTo>
                    <a:pt x="2841" y="1136"/>
                  </a:lnTo>
                  <a:lnTo>
                    <a:pt x="2809" y="1053"/>
                  </a:lnTo>
                  <a:lnTo>
                    <a:pt x="2772" y="972"/>
                  </a:lnTo>
                  <a:lnTo>
                    <a:pt x="2731" y="895"/>
                  </a:lnTo>
                  <a:lnTo>
                    <a:pt x="2684" y="820"/>
                  </a:lnTo>
                  <a:lnTo>
                    <a:pt x="2633" y="749"/>
                  </a:lnTo>
                  <a:lnTo>
                    <a:pt x="2578" y="682"/>
                  </a:lnTo>
                  <a:lnTo>
                    <a:pt x="2518" y="618"/>
                  </a:lnTo>
                  <a:lnTo>
                    <a:pt x="2454" y="558"/>
                  </a:lnTo>
                  <a:lnTo>
                    <a:pt x="2387" y="503"/>
                  </a:lnTo>
                  <a:lnTo>
                    <a:pt x="2316" y="452"/>
                  </a:lnTo>
                  <a:lnTo>
                    <a:pt x="2241" y="405"/>
                  </a:lnTo>
                  <a:lnTo>
                    <a:pt x="2164" y="364"/>
                  </a:lnTo>
                  <a:lnTo>
                    <a:pt x="2083" y="327"/>
                  </a:lnTo>
                  <a:lnTo>
                    <a:pt x="2000" y="295"/>
                  </a:lnTo>
                  <a:lnTo>
                    <a:pt x="1914" y="269"/>
                  </a:lnTo>
                  <a:lnTo>
                    <a:pt x="1826" y="250"/>
                  </a:lnTo>
                  <a:lnTo>
                    <a:pt x="1736" y="234"/>
                  </a:lnTo>
                  <a:lnTo>
                    <a:pt x="1736" y="448"/>
                  </a:lnTo>
                  <a:lnTo>
                    <a:pt x="1400" y="448"/>
                  </a:lnTo>
                  <a:lnTo>
                    <a:pt x="1400" y="234"/>
                  </a:lnTo>
                  <a:close/>
                  <a:moveTo>
                    <a:pt x="1568" y="0"/>
                  </a:moveTo>
                  <a:lnTo>
                    <a:pt x="1671" y="3"/>
                  </a:lnTo>
                  <a:lnTo>
                    <a:pt x="1772" y="13"/>
                  </a:lnTo>
                  <a:lnTo>
                    <a:pt x="1872" y="29"/>
                  </a:lnTo>
                  <a:lnTo>
                    <a:pt x="1969" y="52"/>
                  </a:lnTo>
                  <a:lnTo>
                    <a:pt x="2063" y="80"/>
                  </a:lnTo>
                  <a:lnTo>
                    <a:pt x="2156" y="114"/>
                  </a:lnTo>
                  <a:lnTo>
                    <a:pt x="2245" y="153"/>
                  </a:lnTo>
                  <a:lnTo>
                    <a:pt x="2332" y="198"/>
                  </a:lnTo>
                  <a:lnTo>
                    <a:pt x="2414" y="247"/>
                  </a:lnTo>
                  <a:lnTo>
                    <a:pt x="2494" y="303"/>
                  </a:lnTo>
                  <a:lnTo>
                    <a:pt x="2570" y="361"/>
                  </a:lnTo>
                  <a:lnTo>
                    <a:pt x="2642" y="425"/>
                  </a:lnTo>
                  <a:lnTo>
                    <a:pt x="2711" y="494"/>
                  </a:lnTo>
                  <a:lnTo>
                    <a:pt x="2775" y="566"/>
                  </a:lnTo>
                  <a:lnTo>
                    <a:pt x="2833" y="642"/>
                  </a:lnTo>
                  <a:lnTo>
                    <a:pt x="2889" y="722"/>
                  </a:lnTo>
                  <a:lnTo>
                    <a:pt x="2938" y="804"/>
                  </a:lnTo>
                  <a:lnTo>
                    <a:pt x="2983" y="891"/>
                  </a:lnTo>
                  <a:lnTo>
                    <a:pt x="3022" y="980"/>
                  </a:lnTo>
                  <a:lnTo>
                    <a:pt x="3056" y="1073"/>
                  </a:lnTo>
                  <a:lnTo>
                    <a:pt x="3084" y="1167"/>
                  </a:lnTo>
                  <a:lnTo>
                    <a:pt x="3107" y="1264"/>
                  </a:lnTo>
                  <a:lnTo>
                    <a:pt x="3123" y="1364"/>
                  </a:lnTo>
                  <a:lnTo>
                    <a:pt x="3133" y="1465"/>
                  </a:lnTo>
                  <a:lnTo>
                    <a:pt x="3136" y="1568"/>
                  </a:lnTo>
                  <a:lnTo>
                    <a:pt x="3133" y="1671"/>
                  </a:lnTo>
                  <a:lnTo>
                    <a:pt x="3123" y="1772"/>
                  </a:lnTo>
                  <a:lnTo>
                    <a:pt x="3107" y="1872"/>
                  </a:lnTo>
                  <a:lnTo>
                    <a:pt x="3084" y="1969"/>
                  </a:lnTo>
                  <a:lnTo>
                    <a:pt x="3056" y="2063"/>
                  </a:lnTo>
                  <a:lnTo>
                    <a:pt x="3022" y="2156"/>
                  </a:lnTo>
                  <a:lnTo>
                    <a:pt x="2983" y="2245"/>
                  </a:lnTo>
                  <a:lnTo>
                    <a:pt x="2938" y="2332"/>
                  </a:lnTo>
                  <a:lnTo>
                    <a:pt x="2889" y="2414"/>
                  </a:lnTo>
                  <a:lnTo>
                    <a:pt x="2833" y="2494"/>
                  </a:lnTo>
                  <a:lnTo>
                    <a:pt x="2775" y="2570"/>
                  </a:lnTo>
                  <a:lnTo>
                    <a:pt x="2711" y="2642"/>
                  </a:lnTo>
                  <a:lnTo>
                    <a:pt x="2642" y="2711"/>
                  </a:lnTo>
                  <a:lnTo>
                    <a:pt x="2570" y="2775"/>
                  </a:lnTo>
                  <a:lnTo>
                    <a:pt x="2494" y="2833"/>
                  </a:lnTo>
                  <a:lnTo>
                    <a:pt x="2414" y="2889"/>
                  </a:lnTo>
                  <a:lnTo>
                    <a:pt x="2332" y="2938"/>
                  </a:lnTo>
                  <a:lnTo>
                    <a:pt x="2245" y="2983"/>
                  </a:lnTo>
                  <a:lnTo>
                    <a:pt x="2156" y="3022"/>
                  </a:lnTo>
                  <a:lnTo>
                    <a:pt x="2063" y="3056"/>
                  </a:lnTo>
                  <a:lnTo>
                    <a:pt x="1969" y="3084"/>
                  </a:lnTo>
                  <a:lnTo>
                    <a:pt x="1872" y="3107"/>
                  </a:lnTo>
                  <a:lnTo>
                    <a:pt x="1772" y="3123"/>
                  </a:lnTo>
                  <a:lnTo>
                    <a:pt x="1671" y="3133"/>
                  </a:lnTo>
                  <a:lnTo>
                    <a:pt x="1568" y="3136"/>
                  </a:lnTo>
                  <a:lnTo>
                    <a:pt x="1465" y="3133"/>
                  </a:lnTo>
                  <a:lnTo>
                    <a:pt x="1364" y="3123"/>
                  </a:lnTo>
                  <a:lnTo>
                    <a:pt x="1264" y="3107"/>
                  </a:lnTo>
                  <a:lnTo>
                    <a:pt x="1167" y="3084"/>
                  </a:lnTo>
                  <a:lnTo>
                    <a:pt x="1073" y="3056"/>
                  </a:lnTo>
                  <a:lnTo>
                    <a:pt x="980" y="3022"/>
                  </a:lnTo>
                  <a:lnTo>
                    <a:pt x="891" y="2983"/>
                  </a:lnTo>
                  <a:lnTo>
                    <a:pt x="804" y="2938"/>
                  </a:lnTo>
                  <a:lnTo>
                    <a:pt x="722" y="2889"/>
                  </a:lnTo>
                  <a:lnTo>
                    <a:pt x="642" y="2833"/>
                  </a:lnTo>
                  <a:lnTo>
                    <a:pt x="566" y="2775"/>
                  </a:lnTo>
                  <a:lnTo>
                    <a:pt x="494" y="2711"/>
                  </a:lnTo>
                  <a:lnTo>
                    <a:pt x="425" y="2642"/>
                  </a:lnTo>
                  <a:lnTo>
                    <a:pt x="361" y="2570"/>
                  </a:lnTo>
                  <a:lnTo>
                    <a:pt x="303" y="2494"/>
                  </a:lnTo>
                  <a:lnTo>
                    <a:pt x="247" y="2414"/>
                  </a:lnTo>
                  <a:lnTo>
                    <a:pt x="198" y="2332"/>
                  </a:lnTo>
                  <a:lnTo>
                    <a:pt x="153" y="2245"/>
                  </a:lnTo>
                  <a:lnTo>
                    <a:pt x="114" y="2156"/>
                  </a:lnTo>
                  <a:lnTo>
                    <a:pt x="80" y="2063"/>
                  </a:lnTo>
                  <a:lnTo>
                    <a:pt x="52" y="1969"/>
                  </a:lnTo>
                  <a:lnTo>
                    <a:pt x="29" y="1872"/>
                  </a:lnTo>
                  <a:lnTo>
                    <a:pt x="13" y="1772"/>
                  </a:lnTo>
                  <a:lnTo>
                    <a:pt x="3" y="1671"/>
                  </a:lnTo>
                  <a:lnTo>
                    <a:pt x="0" y="1568"/>
                  </a:lnTo>
                  <a:lnTo>
                    <a:pt x="3" y="1465"/>
                  </a:lnTo>
                  <a:lnTo>
                    <a:pt x="13" y="1364"/>
                  </a:lnTo>
                  <a:lnTo>
                    <a:pt x="29" y="1264"/>
                  </a:lnTo>
                  <a:lnTo>
                    <a:pt x="52" y="1167"/>
                  </a:lnTo>
                  <a:lnTo>
                    <a:pt x="80" y="1073"/>
                  </a:lnTo>
                  <a:lnTo>
                    <a:pt x="114" y="980"/>
                  </a:lnTo>
                  <a:lnTo>
                    <a:pt x="153" y="891"/>
                  </a:lnTo>
                  <a:lnTo>
                    <a:pt x="198" y="804"/>
                  </a:lnTo>
                  <a:lnTo>
                    <a:pt x="247" y="722"/>
                  </a:lnTo>
                  <a:lnTo>
                    <a:pt x="303" y="642"/>
                  </a:lnTo>
                  <a:lnTo>
                    <a:pt x="361" y="566"/>
                  </a:lnTo>
                  <a:lnTo>
                    <a:pt x="425" y="494"/>
                  </a:lnTo>
                  <a:lnTo>
                    <a:pt x="494" y="425"/>
                  </a:lnTo>
                  <a:lnTo>
                    <a:pt x="566" y="361"/>
                  </a:lnTo>
                  <a:lnTo>
                    <a:pt x="642" y="303"/>
                  </a:lnTo>
                  <a:lnTo>
                    <a:pt x="722" y="247"/>
                  </a:lnTo>
                  <a:lnTo>
                    <a:pt x="804" y="198"/>
                  </a:lnTo>
                  <a:lnTo>
                    <a:pt x="891" y="153"/>
                  </a:lnTo>
                  <a:lnTo>
                    <a:pt x="980" y="114"/>
                  </a:lnTo>
                  <a:lnTo>
                    <a:pt x="1073" y="80"/>
                  </a:lnTo>
                  <a:lnTo>
                    <a:pt x="1167" y="52"/>
                  </a:lnTo>
                  <a:lnTo>
                    <a:pt x="1264" y="29"/>
                  </a:lnTo>
                  <a:lnTo>
                    <a:pt x="1364" y="13"/>
                  </a:lnTo>
                  <a:lnTo>
                    <a:pt x="1465" y="3"/>
                  </a:lnTo>
                  <a:lnTo>
                    <a:pt x="15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89" name="Freeform 16"/>
            <p:cNvSpPr>
              <a:spLocks/>
            </p:cNvSpPr>
            <p:nvPr/>
          </p:nvSpPr>
          <p:spPr bwMode="auto">
            <a:xfrm>
              <a:off x="1597484" y="2924266"/>
              <a:ext cx="44450" cy="41275"/>
            </a:xfrm>
            <a:custGeom>
              <a:avLst/>
              <a:gdLst/>
              <a:ahLst/>
              <a:cxnLst>
                <a:cxn ang="0">
                  <a:pos x="146" y="0"/>
                </a:cxn>
                <a:cxn ang="0">
                  <a:pos x="202" y="96"/>
                </a:cxn>
                <a:cxn ang="0">
                  <a:pos x="57" y="181"/>
                </a:cxn>
                <a:cxn ang="0">
                  <a:pos x="0" y="83"/>
                </a:cxn>
                <a:cxn ang="0">
                  <a:pos x="146" y="0"/>
                </a:cxn>
              </a:cxnLst>
              <a:rect l="0" t="0" r="r" b="b"/>
              <a:pathLst>
                <a:path w="202" h="181">
                  <a:moveTo>
                    <a:pt x="146" y="0"/>
                  </a:moveTo>
                  <a:lnTo>
                    <a:pt x="202" y="96"/>
                  </a:lnTo>
                  <a:lnTo>
                    <a:pt x="57" y="181"/>
                  </a:lnTo>
                  <a:lnTo>
                    <a:pt x="0" y="83"/>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0" name="Freeform 17"/>
            <p:cNvSpPr>
              <a:spLocks/>
            </p:cNvSpPr>
            <p:nvPr/>
          </p:nvSpPr>
          <p:spPr bwMode="auto">
            <a:xfrm>
              <a:off x="2070559" y="2651216"/>
              <a:ext cx="44450" cy="41275"/>
            </a:xfrm>
            <a:custGeom>
              <a:avLst/>
              <a:gdLst/>
              <a:ahLst/>
              <a:cxnLst>
                <a:cxn ang="0">
                  <a:pos x="145" y="0"/>
                </a:cxn>
                <a:cxn ang="0">
                  <a:pos x="202" y="98"/>
                </a:cxn>
                <a:cxn ang="0">
                  <a:pos x="56" y="181"/>
                </a:cxn>
                <a:cxn ang="0">
                  <a:pos x="0" y="85"/>
                </a:cxn>
                <a:cxn ang="0">
                  <a:pos x="145" y="0"/>
                </a:cxn>
              </a:cxnLst>
              <a:rect l="0" t="0" r="r" b="b"/>
              <a:pathLst>
                <a:path w="202" h="181">
                  <a:moveTo>
                    <a:pt x="145" y="0"/>
                  </a:moveTo>
                  <a:lnTo>
                    <a:pt x="202" y="98"/>
                  </a:lnTo>
                  <a:lnTo>
                    <a:pt x="56" y="181"/>
                  </a:lnTo>
                  <a:lnTo>
                    <a:pt x="0" y="85"/>
                  </a:lnTo>
                  <a:lnTo>
                    <a:pt x="1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1" name="Freeform 18"/>
            <p:cNvSpPr>
              <a:spLocks/>
            </p:cNvSpPr>
            <p:nvPr/>
          </p:nvSpPr>
          <p:spPr bwMode="auto">
            <a:xfrm>
              <a:off x="1699084" y="3022691"/>
              <a:ext cx="41275" cy="44450"/>
            </a:xfrm>
            <a:custGeom>
              <a:avLst/>
              <a:gdLst/>
              <a:ahLst/>
              <a:cxnLst>
                <a:cxn ang="0">
                  <a:pos x="85" y="0"/>
                </a:cxn>
                <a:cxn ang="0">
                  <a:pos x="181" y="56"/>
                </a:cxn>
                <a:cxn ang="0">
                  <a:pos x="98" y="202"/>
                </a:cxn>
                <a:cxn ang="0">
                  <a:pos x="0" y="145"/>
                </a:cxn>
                <a:cxn ang="0">
                  <a:pos x="85" y="0"/>
                </a:cxn>
              </a:cxnLst>
              <a:rect l="0" t="0" r="r" b="b"/>
              <a:pathLst>
                <a:path w="181" h="202">
                  <a:moveTo>
                    <a:pt x="85" y="0"/>
                  </a:moveTo>
                  <a:lnTo>
                    <a:pt x="181" y="56"/>
                  </a:lnTo>
                  <a:lnTo>
                    <a:pt x="98" y="202"/>
                  </a:lnTo>
                  <a:lnTo>
                    <a:pt x="0" y="145"/>
                  </a:lnTo>
                  <a:lnTo>
                    <a:pt x="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2" name="Freeform 19"/>
            <p:cNvSpPr>
              <a:spLocks/>
            </p:cNvSpPr>
            <p:nvPr/>
          </p:nvSpPr>
          <p:spPr bwMode="auto">
            <a:xfrm>
              <a:off x="1972134" y="2549616"/>
              <a:ext cx="41275" cy="44450"/>
            </a:xfrm>
            <a:custGeom>
              <a:avLst/>
              <a:gdLst/>
              <a:ahLst/>
              <a:cxnLst>
                <a:cxn ang="0">
                  <a:pos x="83" y="0"/>
                </a:cxn>
                <a:cxn ang="0">
                  <a:pos x="181" y="57"/>
                </a:cxn>
                <a:cxn ang="0">
                  <a:pos x="96" y="202"/>
                </a:cxn>
                <a:cxn ang="0">
                  <a:pos x="0" y="146"/>
                </a:cxn>
                <a:cxn ang="0">
                  <a:pos x="83" y="0"/>
                </a:cxn>
              </a:cxnLst>
              <a:rect l="0" t="0" r="r" b="b"/>
              <a:pathLst>
                <a:path w="181" h="202">
                  <a:moveTo>
                    <a:pt x="83" y="0"/>
                  </a:moveTo>
                  <a:lnTo>
                    <a:pt x="181" y="57"/>
                  </a:lnTo>
                  <a:lnTo>
                    <a:pt x="96" y="202"/>
                  </a:lnTo>
                  <a:lnTo>
                    <a:pt x="0" y="146"/>
                  </a:lnTo>
                  <a:lnTo>
                    <a:pt x="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3" name="Freeform 20"/>
            <p:cNvSpPr>
              <a:spLocks/>
            </p:cNvSpPr>
            <p:nvPr/>
          </p:nvSpPr>
          <p:spPr bwMode="auto">
            <a:xfrm>
              <a:off x="1972134" y="3022691"/>
              <a:ext cx="41275" cy="44450"/>
            </a:xfrm>
            <a:custGeom>
              <a:avLst/>
              <a:gdLst/>
              <a:ahLst/>
              <a:cxnLst>
                <a:cxn ang="0">
                  <a:pos x="96" y="0"/>
                </a:cxn>
                <a:cxn ang="0">
                  <a:pos x="181" y="145"/>
                </a:cxn>
                <a:cxn ang="0">
                  <a:pos x="83" y="202"/>
                </a:cxn>
                <a:cxn ang="0">
                  <a:pos x="0" y="56"/>
                </a:cxn>
                <a:cxn ang="0">
                  <a:pos x="96" y="0"/>
                </a:cxn>
              </a:cxnLst>
              <a:rect l="0" t="0" r="r" b="b"/>
              <a:pathLst>
                <a:path w="181" h="202">
                  <a:moveTo>
                    <a:pt x="96" y="0"/>
                  </a:moveTo>
                  <a:lnTo>
                    <a:pt x="181" y="145"/>
                  </a:lnTo>
                  <a:lnTo>
                    <a:pt x="83" y="202"/>
                  </a:lnTo>
                  <a:lnTo>
                    <a:pt x="0" y="56"/>
                  </a:ln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4" name="Freeform 21"/>
            <p:cNvSpPr>
              <a:spLocks/>
            </p:cNvSpPr>
            <p:nvPr/>
          </p:nvSpPr>
          <p:spPr bwMode="auto">
            <a:xfrm>
              <a:off x="1699084" y="2549616"/>
              <a:ext cx="41275" cy="44450"/>
            </a:xfrm>
            <a:custGeom>
              <a:avLst/>
              <a:gdLst/>
              <a:ahLst/>
              <a:cxnLst>
                <a:cxn ang="0">
                  <a:pos x="98" y="0"/>
                </a:cxn>
                <a:cxn ang="0">
                  <a:pos x="181" y="146"/>
                </a:cxn>
                <a:cxn ang="0">
                  <a:pos x="85" y="202"/>
                </a:cxn>
                <a:cxn ang="0">
                  <a:pos x="0" y="57"/>
                </a:cxn>
                <a:cxn ang="0">
                  <a:pos x="98" y="0"/>
                </a:cxn>
              </a:cxnLst>
              <a:rect l="0" t="0" r="r" b="b"/>
              <a:pathLst>
                <a:path w="181" h="202">
                  <a:moveTo>
                    <a:pt x="98" y="0"/>
                  </a:moveTo>
                  <a:lnTo>
                    <a:pt x="181" y="146"/>
                  </a:lnTo>
                  <a:lnTo>
                    <a:pt x="85" y="202"/>
                  </a:lnTo>
                  <a:lnTo>
                    <a:pt x="0" y="57"/>
                  </a:lnTo>
                  <a:lnTo>
                    <a:pt x="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5" name="Freeform 22"/>
            <p:cNvSpPr>
              <a:spLocks/>
            </p:cNvSpPr>
            <p:nvPr/>
          </p:nvSpPr>
          <p:spPr bwMode="auto">
            <a:xfrm>
              <a:off x="2070559" y="2924266"/>
              <a:ext cx="44450" cy="41275"/>
            </a:xfrm>
            <a:custGeom>
              <a:avLst/>
              <a:gdLst/>
              <a:ahLst/>
              <a:cxnLst>
                <a:cxn ang="0">
                  <a:pos x="56" y="0"/>
                </a:cxn>
                <a:cxn ang="0">
                  <a:pos x="202" y="83"/>
                </a:cxn>
                <a:cxn ang="0">
                  <a:pos x="145" y="181"/>
                </a:cxn>
                <a:cxn ang="0">
                  <a:pos x="0" y="96"/>
                </a:cxn>
                <a:cxn ang="0">
                  <a:pos x="56" y="0"/>
                </a:cxn>
              </a:cxnLst>
              <a:rect l="0" t="0" r="r" b="b"/>
              <a:pathLst>
                <a:path w="202" h="181">
                  <a:moveTo>
                    <a:pt x="56" y="0"/>
                  </a:moveTo>
                  <a:lnTo>
                    <a:pt x="202" y="83"/>
                  </a:lnTo>
                  <a:lnTo>
                    <a:pt x="145" y="181"/>
                  </a:lnTo>
                  <a:lnTo>
                    <a:pt x="0" y="96"/>
                  </a:lnTo>
                  <a:lnTo>
                    <a:pt x="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6" name="Freeform 23"/>
            <p:cNvSpPr>
              <a:spLocks/>
            </p:cNvSpPr>
            <p:nvPr/>
          </p:nvSpPr>
          <p:spPr bwMode="auto">
            <a:xfrm>
              <a:off x="1597484" y="2651216"/>
              <a:ext cx="44450" cy="41275"/>
            </a:xfrm>
            <a:custGeom>
              <a:avLst/>
              <a:gdLst/>
              <a:ahLst/>
              <a:cxnLst>
                <a:cxn ang="0">
                  <a:pos x="57" y="0"/>
                </a:cxn>
                <a:cxn ang="0">
                  <a:pos x="202" y="85"/>
                </a:cxn>
                <a:cxn ang="0">
                  <a:pos x="146" y="181"/>
                </a:cxn>
                <a:cxn ang="0">
                  <a:pos x="0" y="98"/>
                </a:cxn>
                <a:cxn ang="0">
                  <a:pos x="57" y="0"/>
                </a:cxn>
              </a:cxnLst>
              <a:rect l="0" t="0" r="r" b="b"/>
              <a:pathLst>
                <a:path w="202" h="181">
                  <a:moveTo>
                    <a:pt x="57" y="0"/>
                  </a:moveTo>
                  <a:lnTo>
                    <a:pt x="202" y="85"/>
                  </a:lnTo>
                  <a:lnTo>
                    <a:pt x="146" y="181"/>
                  </a:lnTo>
                  <a:lnTo>
                    <a:pt x="0" y="98"/>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7" name="Freeform 24"/>
            <p:cNvSpPr>
              <a:spLocks/>
            </p:cNvSpPr>
            <p:nvPr/>
          </p:nvSpPr>
          <p:spPr bwMode="auto">
            <a:xfrm>
              <a:off x="1730834" y="2603591"/>
              <a:ext cx="163513" cy="242888"/>
            </a:xfrm>
            <a:custGeom>
              <a:avLst/>
              <a:gdLst/>
              <a:ahLst/>
              <a:cxnLst>
                <a:cxn ang="0">
                  <a:pos x="98" y="0"/>
                </a:cxn>
                <a:cxn ang="0">
                  <a:pos x="441" y="595"/>
                </a:cxn>
                <a:cxn ang="0">
                  <a:pos x="441" y="61"/>
                </a:cxn>
                <a:cxn ang="0">
                  <a:pos x="665" y="61"/>
                </a:cxn>
                <a:cxn ang="0">
                  <a:pos x="665" y="776"/>
                </a:cxn>
                <a:cxn ang="0">
                  <a:pos x="684" y="797"/>
                </a:cxn>
                <a:cxn ang="0">
                  <a:pos x="700" y="820"/>
                </a:cxn>
                <a:cxn ang="0">
                  <a:pos x="712" y="845"/>
                </a:cxn>
                <a:cxn ang="0">
                  <a:pos x="718" y="872"/>
                </a:cxn>
                <a:cxn ang="0">
                  <a:pos x="721" y="901"/>
                </a:cxn>
                <a:cxn ang="0">
                  <a:pos x="718" y="931"/>
                </a:cxn>
                <a:cxn ang="0">
                  <a:pos x="710" y="960"/>
                </a:cxn>
                <a:cxn ang="0">
                  <a:pos x="699" y="986"/>
                </a:cxn>
                <a:cxn ang="0">
                  <a:pos x="681" y="1010"/>
                </a:cxn>
                <a:cxn ang="0">
                  <a:pos x="662" y="1029"/>
                </a:cxn>
                <a:cxn ang="0">
                  <a:pos x="638" y="1047"/>
                </a:cxn>
                <a:cxn ang="0">
                  <a:pos x="612" y="1058"/>
                </a:cxn>
                <a:cxn ang="0">
                  <a:pos x="583" y="1066"/>
                </a:cxn>
                <a:cxn ang="0">
                  <a:pos x="553" y="1069"/>
                </a:cxn>
                <a:cxn ang="0">
                  <a:pos x="523" y="1066"/>
                </a:cxn>
                <a:cxn ang="0">
                  <a:pos x="494" y="1058"/>
                </a:cxn>
                <a:cxn ang="0">
                  <a:pos x="468" y="1047"/>
                </a:cxn>
                <a:cxn ang="0">
                  <a:pos x="444" y="1029"/>
                </a:cxn>
                <a:cxn ang="0">
                  <a:pos x="425" y="1010"/>
                </a:cxn>
                <a:cxn ang="0">
                  <a:pos x="407" y="986"/>
                </a:cxn>
                <a:cxn ang="0">
                  <a:pos x="396" y="960"/>
                </a:cxn>
                <a:cxn ang="0">
                  <a:pos x="388" y="931"/>
                </a:cxn>
                <a:cxn ang="0">
                  <a:pos x="385" y="901"/>
                </a:cxn>
                <a:cxn ang="0">
                  <a:pos x="388" y="871"/>
                </a:cxn>
                <a:cxn ang="0">
                  <a:pos x="396" y="842"/>
                </a:cxn>
                <a:cxn ang="0">
                  <a:pos x="409" y="816"/>
                </a:cxn>
                <a:cxn ang="0">
                  <a:pos x="426" y="792"/>
                </a:cxn>
                <a:cxn ang="0">
                  <a:pos x="0" y="56"/>
                </a:cxn>
                <a:cxn ang="0">
                  <a:pos x="98" y="0"/>
                </a:cxn>
              </a:cxnLst>
              <a:rect l="0" t="0" r="r" b="b"/>
              <a:pathLst>
                <a:path w="721" h="1069">
                  <a:moveTo>
                    <a:pt x="98" y="0"/>
                  </a:moveTo>
                  <a:lnTo>
                    <a:pt x="441" y="595"/>
                  </a:lnTo>
                  <a:lnTo>
                    <a:pt x="441" y="61"/>
                  </a:lnTo>
                  <a:lnTo>
                    <a:pt x="665" y="61"/>
                  </a:lnTo>
                  <a:lnTo>
                    <a:pt x="665" y="776"/>
                  </a:lnTo>
                  <a:lnTo>
                    <a:pt x="684" y="797"/>
                  </a:lnTo>
                  <a:lnTo>
                    <a:pt x="700" y="820"/>
                  </a:lnTo>
                  <a:lnTo>
                    <a:pt x="712" y="845"/>
                  </a:lnTo>
                  <a:lnTo>
                    <a:pt x="718" y="872"/>
                  </a:lnTo>
                  <a:lnTo>
                    <a:pt x="721" y="901"/>
                  </a:lnTo>
                  <a:lnTo>
                    <a:pt x="718" y="931"/>
                  </a:lnTo>
                  <a:lnTo>
                    <a:pt x="710" y="960"/>
                  </a:lnTo>
                  <a:lnTo>
                    <a:pt x="699" y="986"/>
                  </a:lnTo>
                  <a:lnTo>
                    <a:pt x="681" y="1010"/>
                  </a:lnTo>
                  <a:lnTo>
                    <a:pt x="662" y="1029"/>
                  </a:lnTo>
                  <a:lnTo>
                    <a:pt x="638" y="1047"/>
                  </a:lnTo>
                  <a:lnTo>
                    <a:pt x="612" y="1058"/>
                  </a:lnTo>
                  <a:lnTo>
                    <a:pt x="583" y="1066"/>
                  </a:lnTo>
                  <a:lnTo>
                    <a:pt x="553" y="1069"/>
                  </a:lnTo>
                  <a:lnTo>
                    <a:pt x="523" y="1066"/>
                  </a:lnTo>
                  <a:lnTo>
                    <a:pt x="494" y="1058"/>
                  </a:lnTo>
                  <a:lnTo>
                    <a:pt x="468" y="1047"/>
                  </a:lnTo>
                  <a:lnTo>
                    <a:pt x="444" y="1029"/>
                  </a:lnTo>
                  <a:lnTo>
                    <a:pt x="425" y="1010"/>
                  </a:lnTo>
                  <a:lnTo>
                    <a:pt x="407" y="986"/>
                  </a:lnTo>
                  <a:lnTo>
                    <a:pt x="396" y="960"/>
                  </a:lnTo>
                  <a:lnTo>
                    <a:pt x="388" y="931"/>
                  </a:lnTo>
                  <a:lnTo>
                    <a:pt x="385" y="901"/>
                  </a:lnTo>
                  <a:lnTo>
                    <a:pt x="388" y="871"/>
                  </a:lnTo>
                  <a:lnTo>
                    <a:pt x="396" y="842"/>
                  </a:lnTo>
                  <a:lnTo>
                    <a:pt x="409" y="816"/>
                  </a:lnTo>
                  <a:lnTo>
                    <a:pt x="426" y="792"/>
                  </a:lnTo>
                  <a:lnTo>
                    <a:pt x="0" y="56"/>
                  </a:lnTo>
                  <a:lnTo>
                    <a:pt x="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136535"/>
      </p:ext>
    </p:extLst>
  </p:cSld>
  <p:clrMapOvr>
    <a:masterClrMapping/>
  </p:clrMapOvr>
  <p:transition spd="med">
    <p:pull/>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err="1" smtClean="0"/>
              <a:t>Preisgelder</a:t>
            </a:r>
            <a:endParaRPr lang="en-US" dirty="0"/>
          </a:p>
        </p:txBody>
      </p:sp>
      <p:sp>
        <p:nvSpPr>
          <p:cNvPr id="5" name="Textplatzhalter 4"/>
          <p:cNvSpPr>
            <a:spLocks noGrp="1"/>
          </p:cNvSpPr>
          <p:nvPr>
            <p:ph type="body" sz="quarter" idx="11"/>
          </p:nvPr>
        </p:nvSpPr>
        <p:spPr>
          <a:xfrm>
            <a:off x="838200" y="1485900"/>
            <a:ext cx="8399463" cy="4455066"/>
          </a:xfrm>
        </p:spPr>
        <p:txBody>
          <a:bodyPr/>
          <a:lstStyle/>
          <a:p>
            <a:r>
              <a:rPr lang="de-DE" sz="1400" dirty="0" smtClean="0">
                <a:solidFill>
                  <a:schemeClr val="accent5"/>
                </a:solidFill>
              </a:rPr>
              <a:t>Preisgelder für Lehrstühle und studentische Unternehmensberatungen</a:t>
            </a:r>
            <a:endParaRPr lang="de-DE" sz="1400" dirty="0">
              <a:solidFill>
                <a:schemeClr val="accent5"/>
              </a:solidFill>
            </a:endParaRPr>
          </a:p>
          <a:p>
            <a:pPr marL="285750" indent="-285750">
              <a:buFont typeface="Symbol" panose="05050102010706020507" pitchFamily="18" charset="2"/>
              <a:buChar char="-"/>
            </a:pPr>
            <a:r>
              <a:rPr lang="de-DE" sz="1200" b="0" dirty="0" smtClean="0"/>
              <a:t>Für das </a:t>
            </a:r>
            <a:r>
              <a:rPr lang="de-DE" sz="1200" b="0" dirty="0"/>
              <a:t>E</a:t>
            </a:r>
            <a:r>
              <a:rPr lang="de-DE" sz="1200" b="0" dirty="0" smtClean="0"/>
              <a:t>rreichen des </a:t>
            </a:r>
            <a:r>
              <a:rPr lang="de-DE" sz="1200" b="0" dirty="0"/>
              <a:t>1., 2. oder 3. Platz wird ein Preisgeld </a:t>
            </a:r>
            <a:r>
              <a:rPr lang="de-DE" sz="1200" b="0" dirty="0" smtClean="0"/>
              <a:t>vergeben</a:t>
            </a:r>
            <a:endParaRPr lang="de-DE" sz="1200" b="0" dirty="0"/>
          </a:p>
          <a:p>
            <a:pPr marL="285750" indent="-285750">
              <a:buFont typeface="Symbol" panose="05050102010706020507" pitchFamily="18" charset="2"/>
              <a:buChar char="-"/>
            </a:pPr>
            <a:r>
              <a:rPr lang="de-DE" sz="1200" dirty="0"/>
              <a:t>Regionale Wettbewerbe:</a:t>
            </a:r>
          </a:p>
          <a:p>
            <a:pPr marL="861822" lvl="3">
              <a:buFont typeface="Symbol" panose="05050102010706020507" pitchFamily="18" charset="2"/>
              <a:buChar char="-"/>
            </a:pPr>
            <a:r>
              <a:rPr lang="de-DE" sz="1200" dirty="0">
                <a:latin typeface="Univers for KPMG"/>
                <a:cs typeface="Univers for KPMG"/>
              </a:rPr>
              <a:t>Siegerteams:		2.000 EUR</a:t>
            </a:r>
          </a:p>
          <a:p>
            <a:pPr marL="861822" lvl="3">
              <a:buFont typeface="Symbol" panose="05050102010706020507" pitchFamily="18" charset="2"/>
              <a:buChar char="-"/>
            </a:pPr>
            <a:r>
              <a:rPr lang="de-DE" sz="1200" dirty="0">
                <a:latin typeface="Univers for KPMG"/>
                <a:cs typeface="Univers for KPMG"/>
              </a:rPr>
              <a:t>Zweitplatzierte Teams:	1.500 EUR</a:t>
            </a:r>
          </a:p>
          <a:p>
            <a:pPr marL="861822" lvl="3">
              <a:buFont typeface="Symbol" panose="05050102010706020507" pitchFamily="18" charset="2"/>
              <a:buChar char="-"/>
            </a:pPr>
            <a:r>
              <a:rPr lang="de-DE" sz="1200" dirty="0">
                <a:latin typeface="Univers for KPMG"/>
                <a:cs typeface="Univers for KPMG"/>
              </a:rPr>
              <a:t>Drittplatzierte Teams:        </a:t>
            </a:r>
            <a:r>
              <a:rPr lang="de-DE" sz="1200" dirty="0" smtClean="0">
                <a:latin typeface="Univers for KPMG"/>
                <a:cs typeface="Univers for KPMG"/>
              </a:rPr>
              <a:t>1.000 </a:t>
            </a:r>
            <a:r>
              <a:rPr lang="de-DE" sz="1200" dirty="0">
                <a:latin typeface="Univers for KPMG"/>
                <a:cs typeface="Univers for KPMG"/>
              </a:rPr>
              <a:t>EUR</a:t>
            </a:r>
          </a:p>
          <a:p>
            <a:pPr marL="285750" indent="-285750">
              <a:buFont typeface="Symbol" panose="05050102010706020507" pitchFamily="18" charset="2"/>
              <a:buChar char="-"/>
            </a:pPr>
            <a:r>
              <a:rPr lang="de-DE" sz="1200" dirty="0"/>
              <a:t>Nationales Finale:</a:t>
            </a:r>
          </a:p>
          <a:p>
            <a:pPr marL="861822" lvl="3">
              <a:buFont typeface="Symbol" panose="05050102010706020507" pitchFamily="18" charset="2"/>
              <a:buChar char="-"/>
            </a:pPr>
            <a:r>
              <a:rPr lang="de-DE" sz="1200" dirty="0">
                <a:latin typeface="Univers for KPMG"/>
                <a:cs typeface="Univers for KPMG"/>
              </a:rPr>
              <a:t>Siegerteam:		2.000 EUR</a:t>
            </a:r>
          </a:p>
          <a:p>
            <a:pPr marL="285750" indent="-285750">
              <a:buFont typeface="Symbol" panose="05050102010706020507" pitchFamily="18" charset="2"/>
              <a:buChar char="-"/>
            </a:pPr>
            <a:r>
              <a:rPr lang="de-DE" sz="1200" dirty="0" smtClean="0"/>
              <a:t>Preisgelder sind zweckgebunden:</a:t>
            </a:r>
          </a:p>
          <a:p>
            <a:pPr marL="861822" lvl="3">
              <a:buFont typeface="Symbol" panose="05050102010706020507" pitchFamily="18" charset="2"/>
              <a:buChar char="-"/>
            </a:pPr>
            <a:r>
              <a:rPr lang="de-DE" sz="1200" dirty="0">
                <a:latin typeface="Univers for KPMG"/>
                <a:cs typeface="Univers for KPMG"/>
              </a:rPr>
              <a:t>Nominierung über Lehrstuhl: für Forschung und Lehre</a:t>
            </a:r>
          </a:p>
          <a:p>
            <a:pPr marL="861822" lvl="3">
              <a:buFont typeface="Symbol" panose="05050102010706020507" pitchFamily="18" charset="2"/>
              <a:buChar char="-"/>
            </a:pPr>
            <a:r>
              <a:rPr lang="de-DE" sz="1200" dirty="0">
                <a:latin typeface="Univers for KPMG"/>
                <a:cs typeface="Univers for KPMG"/>
              </a:rPr>
              <a:t>Bewerbung über Studentische Unternehmensberatung: für die Beratung</a:t>
            </a:r>
          </a:p>
          <a:p>
            <a:pPr marL="861822" lvl="3">
              <a:buFont typeface="Symbol" panose="05050102010706020507" pitchFamily="18" charset="2"/>
              <a:buChar char="-"/>
            </a:pPr>
            <a:endParaRPr lang="de-DE" sz="1200" b="0" dirty="0" smtClean="0"/>
          </a:p>
          <a:p>
            <a:pPr fontAlgn="base">
              <a:lnSpc>
                <a:spcPct val="90000"/>
              </a:lnSpc>
              <a:spcBef>
                <a:spcPct val="25000"/>
              </a:spcBef>
              <a:spcAft>
                <a:spcPct val="0"/>
              </a:spcAft>
              <a:buClr>
                <a:schemeClr val="accent1"/>
              </a:buClr>
              <a:buSzPct val="75000"/>
              <a:tabLst>
                <a:tab pos="2244725" algn="l"/>
                <a:tab pos="5829300" algn="l"/>
              </a:tabLst>
            </a:pPr>
            <a:r>
              <a:rPr lang="de-DE" sz="1400" dirty="0" smtClean="0">
                <a:solidFill>
                  <a:schemeClr val="accent5"/>
                </a:solidFill>
              </a:rPr>
              <a:t>Preise für Studierende</a:t>
            </a:r>
          </a:p>
          <a:p>
            <a:pPr marL="285750" indent="-285750" fontAlgn="base">
              <a:lnSpc>
                <a:spcPct val="90000"/>
              </a:lnSpc>
              <a:spcBef>
                <a:spcPts val="800"/>
              </a:spcBef>
              <a:spcAft>
                <a:spcPct val="0"/>
              </a:spcAft>
              <a:buClr>
                <a:srgbClr val="97989A"/>
              </a:buClr>
              <a:buSzPct val="100000"/>
              <a:buFont typeface="Symbol" panose="05050102010706020507" pitchFamily="18" charset="2"/>
              <a:buChar char="-"/>
              <a:tabLst>
                <a:tab pos="2244725" algn="l"/>
                <a:tab pos="5829300" algn="l"/>
              </a:tabLst>
            </a:pPr>
            <a:r>
              <a:rPr lang="de-DE" sz="1200" b="0" dirty="0" smtClean="0"/>
              <a:t>Regionale </a:t>
            </a:r>
            <a:r>
              <a:rPr lang="de-DE" sz="1200" b="0" dirty="0"/>
              <a:t>Wettbewerbe:	Ticket nach Berlin und ein Coaching für alle </a:t>
            </a:r>
            <a:r>
              <a:rPr lang="de-DE" sz="1200" b="0" dirty="0" smtClean="0"/>
              <a:t>Sieger-Teams</a:t>
            </a:r>
            <a:endParaRPr lang="de-DE" sz="1200" b="0" dirty="0"/>
          </a:p>
          <a:p>
            <a:pPr marL="285750" indent="-285750" fontAlgn="base">
              <a:lnSpc>
                <a:spcPct val="90000"/>
              </a:lnSpc>
              <a:spcBef>
                <a:spcPts val="800"/>
              </a:spcBef>
              <a:spcAft>
                <a:spcPct val="0"/>
              </a:spcAft>
              <a:buClr>
                <a:srgbClr val="97989A"/>
              </a:buClr>
              <a:buSzPct val="100000"/>
              <a:buFont typeface="Symbol" panose="05050102010706020507" pitchFamily="18" charset="2"/>
              <a:buChar char="-"/>
              <a:tabLst>
                <a:tab pos="2244725" algn="l"/>
                <a:tab pos="5829300" algn="l"/>
              </a:tabLst>
            </a:pPr>
            <a:r>
              <a:rPr lang="de-DE" sz="1200" b="0" dirty="0"/>
              <a:t>Nationales Finale: 	</a:t>
            </a:r>
            <a:r>
              <a:rPr lang="de-DE" sz="1200" b="0" dirty="0">
                <a:sym typeface="Wingdings" pitchFamily="2" charset="2"/>
              </a:rPr>
              <a:t>Ticket zum Finale nach </a:t>
            </a:r>
            <a:r>
              <a:rPr lang="de-DE" sz="1200" b="0" dirty="0" smtClean="0"/>
              <a:t>Lissabon </a:t>
            </a:r>
            <a:r>
              <a:rPr lang="de-DE" sz="1200" b="0" dirty="0"/>
              <a:t>und individuelles </a:t>
            </a:r>
            <a:r>
              <a:rPr lang="de-DE" sz="1200" b="0" dirty="0" smtClean="0"/>
              <a:t>Training mit externem Coach</a:t>
            </a:r>
            <a:endParaRPr lang="de-DE" sz="1200" b="0" dirty="0"/>
          </a:p>
          <a:p>
            <a:pPr marL="285750" indent="-285750" fontAlgn="base">
              <a:lnSpc>
                <a:spcPct val="90000"/>
              </a:lnSpc>
              <a:spcBef>
                <a:spcPts val="800"/>
              </a:spcBef>
              <a:spcAft>
                <a:spcPct val="0"/>
              </a:spcAft>
              <a:buClr>
                <a:srgbClr val="97989A"/>
              </a:buClr>
              <a:buSzPct val="100000"/>
              <a:buFont typeface="Symbol" panose="05050102010706020507" pitchFamily="18" charset="2"/>
              <a:buChar char="-"/>
              <a:tabLst>
                <a:tab pos="2244725" algn="l"/>
                <a:tab pos="5829300" algn="l"/>
              </a:tabLst>
            </a:pPr>
            <a:r>
              <a:rPr lang="de-DE" sz="1200" b="0" dirty="0"/>
              <a:t>Internationales Finale: 	</a:t>
            </a:r>
            <a:r>
              <a:rPr lang="de-DE" sz="1200" b="0" dirty="0" smtClean="0"/>
              <a:t>Individueller Gewinn</a:t>
            </a:r>
            <a:endParaRPr lang="de-DE" sz="1200" b="0" dirty="0"/>
          </a:p>
          <a:p>
            <a:pPr marL="285750" indent="-285750">
              <a:buFont typeface="Symbol" panose="05050102010706020507" pitchFamily="18" charset="2"/>
              <a:buChar char="-"/>
            </a:pPr>
            <a:endParaRPr lang="de-DE" b="0" dirty="0"/>
          </a:p>
        </p:txBody>
      </p:sp>
      <p:grpSp>
        <p:nvGrpSpPr>
          <p:cNvPr id="6" name="Gruppieren 5"/>
          <p:cNvGrpSpPr/>
          <p:nvPr/>
        </p:nvGrpSpPr>
        <p:grpSpPr>
          <a:xfrm>
            <a:off x="2939945" y="322450"/>
            <a:ext cx="711200" cy="596900"/>
            <a:chOff x="8625408" y="2544763"/>
            <a:chExt cx="711200" cy="596900"/>
          </a:xfrm>
          <a:solidFill>
            <a:srgbClr val="00A3A1"/>
          </a:solidFill>
        </p:grpSpPr>
        <p:sp>
          <p:nvSpPr>
            <p:cNvPr id="7" name="Freeform 158"/>
            <p:cNvSpPr>
              <a:spLocks/>
            </p:cNvSpPr>
            <p:nvPr/>
          </p:nvSpPr>
          <p:spPr bwMode="auto">
            <a:xfrm>
              <a:off x="8625408" y="2687638"/>
              <a:ext cx="711200" cy="454025"/>
            </a:xfrm>
            <a:custGeom>
              <a:avLst/>
              <a:gdLst/>
              <a:ahLst/>
              <a:cxnLst>
                <a:cxn ang="0">
                  <a:pos x="1399" y="76"/>
                </a:cxn>
                <a:cxn ang="0">
                  <a:pos x="1378" y="167"/>
                </a:cxn>
                <a:cxn ang="0">
                  <a:pos x="1143" y="273"/>
                </a:cxn>
                <a:cxn ang="0">
                  <a:pos x="1260" y="402"/>
                </a:cxn>
                <a:cxn ang="0">
                  <a:pos x="1475" y="312"/>
                </a:cxn>
                <a:cxn ang="0">
                  <a:pos x="1710" y="269"/>
                </a:cxn>
                <a:cxn ang="0">
                  <a:pos x="1955" y="278"/>
                </a:cxn>
                <a:cxn ang="0">
                  <a:pos x="2183" y="337"/>
                </a:cxn>
                <a:cxn ang="0">
                  <a:pos x="2390" y="441"/>
                </a:cxn>
                <a:cxn ang="0">
                  <a:pos x="2365" y="232"/>
                </a:cxn>
                <a:cxn ang="0">
                  <a:pos x="2123" y="142"/>
                </a:cxn>
                <a:cxn ang="0">
                  <a:pos x="2211" y="41"/>
                </a:cxn>
                <a:cxn ang="0">
                  <a:pos x="2404" y="69"/>
                </a:cxn>
                <a:cxn ang="0">
                  <a:pos x="2614" y="182"/>
                </a:cxn>
                <a:cxn ang="0">
                  <a:pos x="2755" y="283"/>
                </a:cxn>
                <a:cxn ang="0">
                  <a:pos x="2884" y="405"/>
                </a:cxn>
                <a:cxn ang="0">
                  <a:pos x="2994" y="548"/>
                </a:cxn>
                <a:cxn ang="0">
                  <a:pos x="3077" y="716"/>
                </a:cxn>
                <a:cxn ang="0">
                  <a:pos x="3126" y="908"/>
                </a:cxn>
                <a:cxn ang="0">
                  <a:pos x="3134" y="1105"/>
                </a:cxn>
                <a:cxn ang="0">
                  <a:pos x="3102" y="1262"/>
                </a:cxn>
                <a:cxn ang="0">
                  <a:pos x="3040" y="1413"/>
                </a:cxn>
                <a:cxn ang="0">
                  <a:pos x="2956" y="1552"/>
                </a:cxn>
                <a:cxn ang="0">
                  <a:pos x="2860" y="1678"/>
                </a:cxn>
                <a:cxn ang="0">
                  <a:pos x="2763" y="1787"/>
                </a:cxn>
                <a:cxn ang="0">
                  <a:pos x="2670" y="1877"/>
                </a:cxn>
                <a:cxn ang="0">
                  <a:pos x="2593" y="1944"/>
                </a:cxn>
                <a:cxn ang="0">
                  <a:pos x="2540" y="1987"/>
                </a:cxn>
                <a:cxn ang="0">
                  <a:pos x="2520" y="2002"/>
                </a:cxn>
                <a:cxn ang="0">
                  <a:pos x="1288" y="1778"/>
                </a:cxn>
                <a:cxn ang="0">
                  <a:pos x="896" y="1666"/>
                </a:cxn>
                <a:cxn ang="0">
                  <a:pos x="873" y="1654"/>
                </a:cxn>
                <a:cxn ang="0">
                  <a:pos x="811" y="1624"/>
                </a:cxn>
                <a:cxn ang="0">
                  <a:pos x="720" y="1577"/>
                </a:cxn>
                <a:cxn ang="0">
                  <a:pos x="609" y="1520"/>
                </a:cxn>
                <a:cxn ang="0">
                  <a:pos x="487" y="1459"/>
                </a:cxn>
                <a:cxn ang="0">
                  <a:pos x="365" y="1396"/>
                </a:cxn>
                <a:cxn ang="0">
                  <a:pos x="251" y="1337"/>
                </a:cxn>
                <a:cxn ang="0">
                  <a:pos x="155" y="1287"/>
                </a:cxn>
                <a:cxn ang="0">
                  <a:pos x="87" y="1250"/>
                </a:cxn>
                <a:cxn ang="0">
                  <a:pos x="56" y="1232"/>
                </a:cxn>
                <a:cxn ang="0">
                  <a:pos x="10" y="1163"/>
                </a:cxn>
                <a:cxn ang="0">
                  <a:pos x="0" y="938"/>
                </a:cxn>
                <a:cxn ang="0">
                  <a:pos x="242" y="924"/>
                </a:cxn>
                <a:cxn ang="0">
                  <a:pos x="343" y="858"/>
                </a:cxn>
                <a:cxn ang="0">
                  <a:pos x="425" y="754"/>
                </a:cxn>
                <a:cxn ang="0">
                  <a:pos x="478" y="662"/>
                </a:cxn>
                <a:cxn ang="0">
                  <a:pos x="528" y="591"/>
                </a:cxn>
                <a:cxn ang="0">
                  <a:pos x="575" y="533"/>
                </a:cxn>
                <a:cxn ang="0">
                  <a:pos x="609" y="497"/>
                </a:cxn>
                <a:cxn ang="0">
                  <a:pos x="392" y="266"/>
                </a:cxn>
                <a:cxn ang="0">
                  <a:pos x="1012" y="157"/>
                </a:cxn>
                <a:cxn ang="0">
                  <a:pos x="1261" y="31"/>
                </a:cxn>
              </a:cxnLst>
              <a:rect l="0" t="0" r="r" b="b"/>
              <a:pathLst>
                <a:path w="3136" h="2002">
                  <a:moveTo>
                    <a:pt x="1349" y="0"/>
                  </a:moveTo>
                  <a:lnTo>
                    <a:pt x="1373" y="39"/>
                  </a:lnTo>
                  <a:lnTo>
                    <a:pt x="1399" y="76"/>
                  </a:lnTo>
                  <a:lnTo>
                    <a:pt x="1429" y="111"/>
                  </a:lnTo>
                  <a:lnTo>
                    <a:pt x="1462" y="142"/>
                  </a:lnTo>
                  <a:lnTo>
                    <a:pt x="1378" y="167"/>
                  </a:lnTo>
                  <a:lnTo>
                    <a:pt x="1298" y="198"/>
                  </a:lnTo>
                  <a:lnTo>
                    <a:pt x="1219" y="232"/>
                  </a:lnTo>
                  <a:lnTo>
                    <a:pt x="1143" y="273"/>
                  </a:lnTo>
                  <a:lnTo>
                    <a:pt x="1072" y="318"/>
                  </a:lnTo>
                  <a:lnTo>
                    <a:pt x="1193" y="441"/>
                  </a:lnTo>
                  <a:lnTo>
                    <a:pt x="1260" y="402"/>
                  </a:lnTo>
                  <a:lnTo>
                    <a:pt x="1329" y="367"/>
                  </a:lnTo>
                  <a:lnTo>
                    <a:pt x="1401" y="337"/>
                  </a:lnTo>
                  <a:lnTo>
                    <a:pt x="1475" y="312"/>
                  </a:lnTo>
                  <a:lnTo>
                    <a:pt x="1552" y="292"/>
                  </a:lnTo>
                  <a:lnTo>
                    <a:pt x="1630" y="278"/>
                  </a:lnTo>
                  <a:lnTo>
                    <a:pt x="1710" y="269"/>
                  </a:lnTo>
                  <a:lnTo>
                    <a:pt x="1792" y="266"/>
                  </a:lnTo>
                  <a:lnTo>
                    <a:pt x="1874" y="269"/>
                  </a:lnTo>
                  <a:lnTo>
                    <a:pt x="1955" y="278"/>
                  </a:lnTo>
                  <a:lnTo>
                    <a:pt x="2033" y="292"/>
                  </a:lnTo>
                  <a:lnTo>
                    <a:pt x="2109" y="312"/>
                  </a:lnTo>
                  <a:lnTo>
                    <a:pt x="2183" y="337"/>
                  </a:lnTo>
                  <a:lnTo>
                    <a:pt x="2254" y="367"/>
                  </a:lnTo>
                  <a:lnTo>
                    <a:pt x="2324" y="402"/>
                  </a:lnTo>
                  <a:lnTo>
                    <a:pt x="2390" y="441"/>
                  </a:lnTo>
                  <a:lnTo>
                    <a:pt x="2513" y="318"/>
                  </a:lnTo>
                  <a:lnTo>
                    <a:pt x="2440" y="273"/>
                  </a:lnTo>
                  <a:lnTo>
                    <a:pt x="2365" y="232"/>
                  </a:lnTo>
                  <a:lnTo>
                    <a:pt x="2287" y="198"/>
                  </a:lnTo>
                  <a:lnTo>
                    <a:pt x="2206" y="167"/>
                  </a:lnTo>
                  <a:lnTo>
                    <a:pt x="2123" y="142"/>
                  </a:lnTo>
                  <a:lnTo>
                    <a:pt x="2154" y="111"/>
                  </a:lnTo>
                  <a:lnTo>
                    <a:pt x="2184" y="77"/>
                  </a:lnTo>
                  <a:lnTo>
                    <a:pt x="2211" y="41"/>
                  </a:lnTo>
                  <a:lnTo>
                    <a:pt x="2234" y="3"/>
                  </a:lnTo>
                  <a:lnTo>
                    <a:pt x="2321" y="34"/>
                  </a:lnTo>
                  <a:lnTo>
                    <a:pt x="2404" y="69"/>
                  </a:lnTo>
                  <a:lnTo>
                    <a:pt x="2486" y="109"/>
                  </a:lnTo>
                  <a:lnTo>
                    <a:pt x="2566" y="153"/>
                  </a:lnTo>
                  <a:lnTo>
                    <a:pt x="2614" y="182"/>
                  </a:lnTo>
                  <a:lnTo>
                    <a:pt x="2662" y="214"/>
                  </a:lnTo>
                  <a:lnTo>
                    <a:pt x="2708" y="248"/>
                  </a:lnTo>
                  <a:lnTo>
                    <a:pt x="2755" y="283"/>
                  </a:lnTo>
                  <a:lnTo>
                    <a:pt x="2800" y="321"/>
                  </a:lnTo>
                  <a:lnTo>
                    <a:pt x="2843" y="362"/>
                  </a:lnTo>
                  <a:lnTo>
                    <a:pt x="2884" y="405"/>
                  </a:lnTo>
                  <a:lnTo>
                    <a:pt x="2923" y="450"/>
                  </a:lnTo>
                  <a:lnTo>
                    <a:pt x="2959" y="498"/>
                  </a:lnTo>
                  <a:lnTo>
                    <a:pt x="2994" y="548"/>
                  </a:lnTo>
                  <a:lnTo>
                    <a:pt x="3024" y="602"/>
                  </a:lnTo>
                  <a:lnTo>
                    <a:pt x="3053" y="657"/>
                  </a:lnTo>
                  <a:lnTo>
                    <a:pt x="3077" y="716"/>
                  </a:lnTo>
                  <a:lnTo>
                    <a:pt x="3097" y="777"/>
                  </a:lnTo>
                  <a:lnTo>
                    <a:pt x="3113" y="841"/>
                  </a:lnTo>
                  <a:lnTo>
                    <a:pt x="3126" y="908"/>
                  </a:lnTo>
                  <a:lnTo>
                    <a:pt x="3133" y="977"/>
                  </a:lnTo>
                  <a:lnTo>
                    <a:pt x="3136" y="1050"/>
                  </a:lnTo>
                  <a:lnTo>
                    <a:pt x="3134" y="1105"/>
                  </a:lnTo>
                  <a:lnTo>
                    <a:pt x="3126" y="1158"/>
                  </a:lnTo>
                  <a:lnTo>
                    <a:pt x="3117" y="1210"/>
                  </a:lnTo>
                  <a:lnTo>
                    <a:pt x="3102" y="1262"/>
                  </a:lnTo>
                  <a:lnTo>
                    <a:pt x="3084" y="1313"/>
                  </a:lnTo>
                  <a:lnTo>
                    <a:pt x="3064" y="1364"/>
                  </a:lnTo>
                  <a:lnTo>
                    <a:pt x="3040" y="1413"/>
                  </a:lnTo>
                  <a:lnTo>
                    <a:pt x="3014" y="1461"/>
                  </a:lnTo>
                  <a:lnTo>
                    <a:pt x="2986" y="1507"/>
                  </a:lnTo>
                  <a:lnTo>
                    <a:pt x="2956" y="1552"/>
                  </a:lnTo>
                  <a:lnTo>
                    <a:pt x="2926" y="1595"/>
                  </a:lnTo>
                  <a:lnTo>
                    <a:pt x="2894" y="1638"/>
                  </a:lnTo>
                  <a:lnTo>
                    <a:pt x="2860" y="1678"/>
                  </a:lnTo>
                  <a:lnTo>
                    <a:pt x="2828" y="1716"/>
                  </a:lnTo>
                  <a:lnTo>
                    <a:pt x="2795" y="1753"/>
                  </a:lnTo>
                  <a:lnTo>
                    <a:pt x="2763" y="1787"/>
                  </a:lnTo>
                  <a:lnTo>
                    <a:pt x="2730" y="1819"/>
                  </a:lnTo>
                  <a:lnTo>
                    <a:pt x="2700" y="1850"/>
                  </a:lnTo>
                  <a:lnTo>
                    <a:pt x="2670" y="1877"/>
                  </a:lnTo>
                  <a:lnTo>
                    <a:pt x="2642" y="1902"/>
                  </a:lnTo>
                  <a:lnTo>
                    <a:pt x="2616" y="1924"/>
                  </a:lnTo>
                  <a:lnTo>
                    <a:pt x="2593" y="1944"/>
                  </a:lnTo>
                  <a:lnTo>
                    <a:pt x="2572" y="1961"/>
                  </a:lnTo>
                  <a:lnTo>
                    <a:pt x="2554" y="1976"/>
                  </a:lnTo>
                  <a:lnTo>
                    <a:pt x="2540" y="1987"/>
                  </a:lnTo>
                  <a:lnTo>
                    <a:pt x="2529" y="1995"/>
                  </a:lnTo>
                  <a:lnTo>
                    <a:pt x="2523" y="2001"/>
                  </a:lnTo>
                  <a:lnTo>
                    <a:pt x="2520" y="2002"/>
                  </a:lnTo>
                  <a:lnTo>
                    <a:pt x="2184" y="2002"/>
                  </a:lnTo>
                  <a:lnTo>
                    <a:pt x="2296" y="1778"/>
                  </a:lnTo>
                  <a:lnTo>
                    <a:pt x="1288" y="1778"/>
                  </a:lnTo>
                  <a:lnTo>
                    <a:pt x="1064" y="2002"/>
                  </a:lnTo>
                  <a:lnTo>
                    <a:pt x="784" y="2002"/>
                  </a:lnTo>
                  <a:lnTo>
                    <a:pt x="896" y="1666"/>
                  </a:lnTo>
                  <a:lnTo>
                    <a:pt x="894" y="1665"/>
                  </a:lnTo>
                  <a:lnTo>
                    <a:pt x="886" y="1661"/>
                  </a:lnTo>
                  <a:lnTo>
                    <a:pt x="873" y="1654"/>
                  </a:lnTo>
                  <a:lnTo>
                    <a:pt x="857" y="1646"/>
                  </a:lnTo>
                  <a:lnTo>
                    <a:pt x="836" y="1636"/>
                  </a:lnTo>
                  <a:lnTo>
                    <a:pt x="811" y="1624"/>
                  </a:lnTo>
                  <a:lnTo>
                    <a:pt x="784" y="1610"/>
                  </a:lnTo>
                  <a:lnTo>
                    <a:pt x="753" y="1594"/>
                  </a:lnTo>
                  <a:lnTo>
                    <a:pt x="720" y="1577"/>
                  </a:lnTo>
                  <a:lnTo>
                    <a:pt x="685" y="1560"/>
                  </a:lnTo>
                  <a:lnTo>
                    <a:pt x="648" y="1540"/>
                  </a:lnTo>
                  <a:lnTo>
                    <a:pt x="609" y="1520"/>
                  </a:lnTo>
                  <a:lnTo>
                    <a:pt x="569" y="1500"/>
                  </a:lnTo>
                  <a:lnTo>
                    <a:pt x="529" y="1479"/>
                  </a:lnTo>
                  <a:lnTo>
                    <a:pt x="487" y="1459"/>
                  </a:lnTo>
                  <a:lnTo>
                    <a:pt x="446" y="1437"/>
                  </a:lnTo>
                  <a:lnTo>
                    <a:pt x="405" y="1416"/>
                  </a:lnTo>
                  <a:lnTo>
                    <a:pt x="365" y="1396"/>
                  </a:lnTo>
                  <a:lnTo>
                    <a:pt x="326" y="1375"/>
                  </a:lnTo>
                  <a:lnTo>
                    <a:pt x="288" y="1355"/>
                  </a:lnTo>
                  <a:lnTo>
                    <a:pt x="251" y="1337"/>
                  </a:lnTo>
                  <a:lnTo>
                    <a:pt x="216" y="1318"/>
                  </a:lnTo>
                  <a:lnTo>
                    <a:pt x="184" y="1302"/>
                  </a:lnTo>
                  <a:lnTo>
                    <a:pt x="155" y="1287"/>
                  </a:lnTo>
                  <a:lnTo>
                    <a:pt x="129" y="1273"/>
                  </a:lnTo>
                  <a:lnTo>
                    <a:pt x="106" y="1260"/>
                  </a:lnTo>
                  <a:lnTo>
                    <a:pt x="87" y="1250"/>
                  </a:lnTo>
                  <a:lnTo>
                    <a:pt x="71" y="1241"/>
                  </a:lnTo>
                  <a:lnTo>
                    <a:pt x="62" y="1235"/>
                  </a:lnTo>
                  <a:lnTo>
                    <a:pt x="56" y="1232"/>
                  </a:lnTo>
                  <a:lnTo>
                    <a:pt x="37" y="1212"/>
                  </a:lnTo>
                  <a:lnTo>
                    <a:pt x="21" y="1188"/>
                  </a:lnTo>
                  <a:lnTo>
                    <a:pt x="10" y="1163"/>
                  </a:lnTo>
                  <a:lnTo>
                    <a:pt x="2" y="1136"/>
                  </a:lnTo>
                  <a:lnTo>
                    <a:pt x="0" y="1106"/>
                  </a:lnTo>
                  <a:lnTo>
                    <a:pt x="0" y="938"/>
                  </a:lnTo>
                  <a:lnTo>
                    <a:pt x="168" y="938"/>
                  </a:lnTo>
                  <a:lnTo>
                    <a:pt x="205" y="934"/>
                  </a:lnTo>
                  <a:lnTo>
                    <a:pt x="242" y="924"/>
                  </a:lnTo>
                  <a:lnTo>
                    <a:pt x="277" y="907"/>
                  </a:lnTo>
                  <a:lnTo>
                    <a:pt x="310" y="885"/>
                  </a:lnTo>
                  <a:lnTo>
                    <a:pt x="343" y="858"/>
                  </a:lnTo>
                  <a:lnTo>
                    <a:pt x="373" y="826"/>
                  </a:lnTo>
                  <a:lnTo>
                    <a:pt x="400" y="792"/>
                  </a:lnTo>
                  <a:lnTo>
                    <a:pt x="425" y="754"/>
                  </a:lnTo>
                  <a:lnTo>
                    <a:pt x="448" y="714"/>
                  </a:lnTo>
                  <a:lnTo>
                    <a:pt x="461" y="689"/>
                  </a:lnTo>
                  <a:lnTo>
                    <a:pt x="478" y="662"/>
                  </a:lnTo>
                  <a:lnTo>
                    <a:pt x="494" y="638"/>
                  </a:lnTo>
                  <a:lnTo>
                    <a:pt x="510" y="614"/>
                  </a:lnTo>
                  <a:lnTo>
                    <a:pt x="528" y="591"/>
                  </a:lnTo>
                  <a:lnTo>
                    <a:pt x="545" y="570"/>
                  </a:lnTo>
                  <a:lnTo>
                    <a:pt x="561" y="551"/>
                  </a:lnTo>
                  <a:lnTo>
                    <a:pt x="575" y="533"/>
                  </a:lnTo>
                  <a:lnTo>
                    <a:pt x="589" y="518"/>
                  </a:lnTo>
                  <a:lnTo>
                    <a:pt x="600" y="506"/>
                  </a:lnTo>
                  <a:lnTo>
                    <a:pt x="609" y="497"/>
                  </a:lnTo>
                  <a:lnTo>
                    <a:pt x="614" y="492"/>
                  </a:lnTo>
                  <a:lnTo>
                    <a:pt x="616" y="490"/>
                  </a:lnTo>
                  <a:lnTo>
                    <a:pt x="392" y="266"/>
                  </a:lnTo>
                  <a:lnTo>
                    <a:pt x="862" y="266"/>
                  </a:lnTo>
                  <a:lnTo>
                    <a:pt x="935" y="210"/>
                  </a:lnTo>
                  <a:lnTo>
                    <a:pt x="1012" y="157"/>
                  </a:lnTo>
                  <a:lnTo>
                    <a:pt x="1091" y="111"/>
                  </a:lnTo>
                  <a:lnTo>
                    <a:pt x="1175" y="68"/>
                  </a:lnTo>
                  <a:lnTo>
                    <a:pt x="1261" y="31"/>
                  </a:lnTo>
                  <a:lnTo>
                    <a:pt x="13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8" name="Freeform 159"/>
            <p:cNvSpPr>
              <a:spLocks/>
            </p:cNvSpPr>
            <p:nvPr/>
          </p:nvSpPr>
          <p:spPr bwMode="auto">
            <a:xfrm>
              <a:off x="8942908" y="2544763"/>
              <a:ext cx="177800" cy="177800"/>
            </a:xfrm>
            <a:custGeom>
              <a:avLst/>
              <a:gdLst/>
              <a:ahLst/>
              <a:cxnLst>
                <a:cxn ang="0">
                  <a:pos x="392" y="0"/>
                </a:cxn>
                <a:cxn ang="0">
                  <a:pos x="442" y="3"/>
                </a:cxn>
                <a:cxn ang="0">
                  <a:pos x="488" y="12"/>
                </a:cxn>
                <a:cxn ang="0">
                  <a:pos x="534" y="26"/>
                </a:cxn>
                <a:cxn ang="0">
                  <a:pos x="576" y="46"/>
                </a:cxn>
                <a:cxn ang="0">
                  <a:pos x="615" y="71"/>
                </a:cxn>
                <a:cxn ang="0">
                  <a:pos x="652" y="99"/>
                </a:cxn>
                <a:cxn ang="0">
                  <a:pos x="685" y="131"/>
                </a:cxn>
                <a:cxn ang="0">
                  <a:pos x="714" y="168"/>
                </a:cxn>
                <a:cxn ang="0">
                  <a:pos x="738" y="208"/>
                </a:cxn>
                <a:cxn ang="0">
                  <a:pos x="758" y="250"/>
                </a:cxn>
                <a:cxn ang="0">
                  <a:pos x="772" y="295"/>
                </a:cxn>
                <a:cxn ang="0">
                  <a:pos x="781" y="343"/>
                </a:cxn>
                <a:cxn ang="0">
                  <a:pos x="784" y="392"/>
                </a:cxn>
                <a:cxn ang="0">
                  <a:pos x="781" y="441"/>
                </a:cxn>
                <a:cxn ang="0">
                  <a:pos x="772" y="489"/>
                </a:cxn>
                <a:cxn ang="0">
                  <a:pos x="758" y="533"/>
                </a:cxn>
                <a:cxn ang="0">
                  <a:pos x="738" y="577"/>
                </a:cxn>
                <a:cxn ang="0">
                  <a:pos x="714" y="616"/>
                </a:cxn>
                <a:cxn ang="0">
                  <a:pos x="685" y="653"/>
                </a:cxn>
                <a:cxn ang="0">
                  <a:pos x="652" y="685"/>
                </a:cxn>
                <a:cxn ang="0">
                  <a:pos x="615" y="714"/>
                </a:cxn>
                <a:cxn ang="0">
                  <a:pos x="576" y="739"/>
                </a:cxn>
                <a:cxn ang="0">
                  <a:pos x="534" y="758"/>
                </a:cxn>
                <a:cxn ang="0">
                  <a:pos x="488" y="772"/>
                </a:cxn>
                <a:cxn ang="0">
                  <a:pos x="442" y="781"/>
                </a:cxn>
                <a:cxn ang="0">
                  <a:pos x="392" y="784"/>
                </a:cxn>
                <a:cxn ang="0">
                  <a:pos x="343" y="781"/>
                </a:cxn>
                <a:cxn ang="0">
                  <a:pos x="295" y="772"/>
                </a:cxn>
                <a:cxn ang="0">
                  <a:pos x="251" y="758"/>
                </a:cxn>
                <a:cxn ang="0">
                  <a:pos x="208" y="739"/>
                </a:cxn>
                <a:cxn ang="0">
                  <a:pos x="168" y="714"/>
                </a:cxn>
                <a:cxn ang="0">
                  <a:pos x="132" y="685"/>
                </a:cxn>
                <a:cxn ang="0">
                  <a:pos x="98" y="653"/>
                </a:cxn>
                <a:cxn ang="0">
                  <a:pos x="70" y="616"/>
                </a:cxn>
                <a:cxn ang="0">
                  <a:pos x="46" y="577"/>
                </a:cxn>
                <a:cxn ang="0">
                  <a:pos x="27" y="533"/>
                </a:cxn>
                <a:cxn ang="0">
                  <a:pos x="12" y="489"/>
                </a:cxn>
                <a:cxn ang="0">
                  <a:pos x="3" y="441"/>
                </a:cxn>
                <a:cxn ang="0">
                  <a:pos x="0" y="392"/>
                </a:cxn>
                <a:cxn ang="0">
                  <a:pos x="3" y="343"/>
                </a:cxn>
                <a:cxn ang="0">
                  <a:pos x="12" y="295"/>
                </a:cxn>
                <a:cxn ang="0">
                  <a:pos x="27" y="250"/>
                </a:cxn>
                <a:cxn ang="0">
                  <a:pos x="46" y="208"/>
                </a:cxn>
                <a:cxn ang="0">
                  <a:pos x="70" y="168"/>
                </a:cxn>
                <a:cxn ang="0">
                  <a:pos x="98" y="131"/>
                </a:cxn>
                <a:cxn ang="0">
                  <a:pos x="132" y="99"/>
                </a:cxn>
                <a:cxn ang="0">
                  <a:pos x="168" y="71"/>
                </a:cxn>
                <a:cxn ang="0">
                  <a:pos x="208" y="46"/>
                </a:cxn>
                <a:cxn ang="0">
                  <a:pos x="251" y="26"/>
                </a:cxn>
                <a:cxn ang="0">
                  <a:pos x="295" y="12"/>
                </a:cxn>
                <a:cxn ang="0">
                  <a:pos x="343" y="3"/>
                </a:cxn>
                <a:cxn ang="0">
                  <a:pos x="392" y="0"/>
                </a:cxn>
              </a:cxnLst>
              <a:rect l="0" t="0" r="r" b="b"/>
              <a:pathLst>
                <a:path w="784" h="784">
                  <a:moveTo>
                    <a:pt x="392" y="0"/>
                  </a:moveTo>
                  <a:lnTo>
                    <a:pt x="442" y="3"/>
                  </a:lnTo>
                  <a:lnTo>
                    <a:pt x="488" y="12"/>
                  </a:lnTo>
                  <a:lnTo>
                    <a:pt x="534" y="26"/>
                  </a:lnTo>
                  <a:lnTo>
                    <a:pt x="576" y="46"/>
                  </a:lnTo>
                  <a:lnTo>
                    <a:pt x="615" y="71"/>
                  </a:lnTo>
                  <a:lnTo>
                    <a:pt x="652" y="99"/>
                  </a:lnTo>
                  <a:lnTo>
                    <a:pt x="685" y="131"/>
                  </a:lnTo>
                  <a:lnTo>
                    <a:pt x="714" y="168"/>
                  </a:lnTo>
                  <a:lnTo>
                    <a:pt x="738" y="208"/>
                  </a:lnTo>
                  <a:lnTo>
                    <a:pt x="758" y="250"/>
                  </a:lnTo>
                  <a:lnTo>
                    <a:pt x="772" y="295"/>
                  </a:lnTo>
                  <a:lnTo>
                    <a:pt x="781" y="343"/>
                  </a:lnTo>
                  <a:lnTo>
                    <a:pt x="784" y="392"/>
                  </a:lnTo>
                  <a:lnTo>
                    <a:pt x="781" y="441"/>
                  </a:lnTo>
                  <a:lnTo>
                    <a:pt x="772" y="489"/>
                  </a:lnTo>
                  <a:lnTo>
                    <a:pt x="758" y="533"/>
                  </a:lnTo>
                  <a:lnTo>
                    <a:pt x="738" y="577"/>
                  </a:lnTo>
                  <a:lnTo>
                    <a:pt x="714" y="616"/>
                  </a:lnTo>
                  <a:lnTo>
                    <a:pt x="685" y="653"/>
                  </a:lnTo>
                  <a:lnTo>
                    <a:pt x="652" y="685"/>
                  </a:lnTo>
                  <a:lnTo>
                    <a:pt x="615" y="714"/>
                  </a:lnTo>
                  <a:lnTo>
                    <a:pt x="576" y="739"/>
                  </a:lnTo>
                  <a:lnTo>
                    <a:pt x="534" y="758"/>
                  </a:lnTo>
                  <a:lnTo>
                    <a:pt x="488" y="772"/>
                  </a:lnTo>
                  <a:lnTo>
                    <a:pt x="442" y="781"/>
                  </a:lnTo>
                  <a:lnTo>
                    <a:pt x="392" y="784"/>
                  </a:lnTo>
                  <a:lnTo>
                    <a:pt x="343" y="781"/>
                  </a:lnTo>
                  <a:lnTo>
                    <a:pt x="295" y="772"/>
                  </a:lnTo>
                  <a:lnTo>
                    <a:pt x="251" y="758"/>
                  </a:lnTo>
                  <a:lnTo>
                    <a:pt x="208" y="739"/>
                  </a:lnTo>
                  <a:lnTo>
                    <a:pt x="168" y="714"/>
                  </a:lnTo>
                  <a:lnTo>
                    <a:pt x="132" y="685"/>
                  </a:lnTo>
                  <a:lnTo>
                    <a:pt x="98" y="653"/>
                  </a:lnTo>
                  <a:lnTo>
                    <a:pt x="70" y="616"/>
                  </a:lnTo>
                  <a:lnTo>
                    <a:pt x="46" y="577"/>
                  </a:lnTo>
                  <a:lnTo>
                    <a:pt x="27" y="533"/>
                  </a:lnTo>
                  <a:lnTo>
                    <a:pt x="12" y="489"/>
                  </a:lnTo>
                  <a:lnTo>
                    <a:pt x="3" y="441"/>
                  </a:lnTo>
                  <a:lnTo>
                    <a:pt x="0" y="392"/>
                  </a:lnTo>
                  <a:lnTo>
                    <a:pt x="3" y="343"/>
                  </a:lnTo>
                  <a:lnTo>
                    <a:pt x="12" y="295"/>
                  </a:lnTo>
                  <a:lnTo>
                    <a:pt x="27" y="250"/>
                  </a:lnTo>
                  <a:lnTo>
                    <a:pt x="46" y="208"/>
                  </a:lnTo>
                  <a:lnTo>
                    <a:pt x="70" y="168"/>
                  </a:lnTo>
                  <a:lnTo>
                    <a:pt x="98" y="131"/>
                  </a:lnTo>
                  <a:lnTo>
                    <a:pt x="132" y="99"/>
                  </a:lnTo>
                  <a:lnTo>
                    <a:pt x="168" y="71"/>
                  </a:lnTo>
                  <a:lnTo>
                    <a:pt x="208" y="46"/>
                  </a:lnTo>
                  <a:lnTo>
                    <a:pt x="251" y="26"/>
                  </a:lnTo>
                  <a:lnTo>
                    <a:pt x="295" y="12"/>
                  </a:lnTo>
                  <a:lnTo>
                    <a:pt x="343" y="3"/>
                  </a:lnTo>
                  <a:lnTo>
                    <a:pt x="3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9" name="Textplatzhalter 1"/>
          <p:cNvSpPr txBox="1">
            <a:spLocks/>
          </p:cNvSpPr>
          <p:nvPr/>
        </p:nvSpPr>
        <p:spPr>
          <a:xfrm>
            <a:off x="838302" y="188397"/>
            <a:ext cx="8381797" cy="184666"/>
          </a:xfrm>
          <a:prstGeom prst="rect">
            <a:avLst/>
          </a:prstGeom>
        </p:spPr>
        <p:txBody>
          <a:bodyPr vert="horz" wrap="square" lIns="0" tIns="0" rIns="0" bIns="0" rtlCol="0">
            <a:spAutoFit/>
          </a:bodyPr>
          <a:lstStyle>
            <a:lvl1pPr eaLnBrk="1" hangingPunct="1">
              <a:spcAft>
                <a:spcPts val="600"/>
              </a:spcAft>
              <a:defRPr sz="1500" b="1" i="0">
                <a:solidFill>
                  <a:schemeClr val="tx2"/>
                </a:solidFill>
                <a:latin typeface="Univers for KPMG"/>
                <a:cs typeface="Univers for KPMG"/>
              </a:defRPr>
            </a:lvl1pPr>
            <a:lvl2pPr marL="0" indent="0" eaLnBrk="1" hangingPunct="1">
              <a:spcAft>
                <a:spcPts val="600"/>
              </a:spcAft>
              <a:buFontTx/>
              <a:buNone/>
              <a:defRPr sz="1500" b="0" i="0">
                <a:solidFill>
                  <a:schemeClr val="tx2"/>
                </a:solidFill>
                <a:latin typeface="Univers for KPMG Light"/>
                <a:cs typeface="Univers for KPMG Light"/>
              </a:defRPr>
            </a:lvl2pPr>
            <a:lvl3pPr marL="285750" indent="-285750" eaLnBrk="1" hangingPunct="1">
              <a:spcAft>
                <a:spcPts val="600"/>
              </a:spcAft>
              <a:buClrTx/>
              <a:buFont typeface="Lucida Grande"/>
              <a:buChar char="—"/>
              <a:defRPr sz="1500" b="0" i="0">
                <a:solidFill>
                  <a:schemeClr val="tx2"/>
                </a:solidFill>
                <a:latin typeface="Univers for KPMG Light"/>
                <a:cs typeface="Univers for KPMG Light"/>
              </a:defRPr>
            </a:lvl3pPr>
            <a:lvl4pPr marL="576072" indent="-228600" eaLnBrk="1" hangingPunct="1">
              <a:spcAft>
                <a:spcPts val="600"/>
              </a:spcAft>
              <a:buFont typeface="Lucida Grande"/>
              <a:buChar char="-"/>
              <a:defRPr sz="1500" b="0" i="0" baseline="0">
                <a:solidFill>
                  <a:schemeClr val="tx2"/>
                </a:solidFill>
                <a:latin typeface="Univers for KPMG Light"/>
                <a:cs typeface="Univers for KPMG Light"/>
              </a:defRPr>
            </a:lvl4pPr>
            <a:lvl5pPr eaLnBrk="1" hangingPunct="1">
              <a:spcAft>
                <a:spcPts val="600"/>
              </a:spcAft>
              <a:defRPr sz="1500" b="0" i="0">
                <a:solidFill>
                  <a:schemeClr val="accent5"/>
                </a:solidFill>
                <a:latin typeface="Univers for KPMG Light"/>
                <a:cs typeface="Univers for KPMG Light"/>
              </a:defRPr>
            </a:lvl5pPr>
          </a:lstStyle>
          <a:p>
            <a:pPr defTabSz="914400"/>
            <a:r>
              <a:rPr lang="de-DE" sz="1200" kern="0" smtClean="0"/>
              <a:t>KICC 2017</a:t>
            </a:r>
            <a:endParaRPr lang="de-DE" sz="1200" kern="0" dirty="0"/>
          </a:p>
        </p:txBody>
      </p:sp>
    </p:spTree>
    <p:extLst>
      <p:ext uri="{BB962C8B-B14F-4D97-AF65-F5344CB8AC3E}">
        <p14:creationId xmlns:p14="http://schemas.microsoft.com/office/powerpoint/2010/main" val="3384866079"/>
      </p:ext>
    </p:extLst>
  </p:cSld>
  <p:clrMapOvr>
    <a:masterClrMapping/>
  </p:clrMapOvr>
  <p:transition spd="med">
    <p:pull/>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77789" y="1589"/>
          <a:ext cx="1587" cy="1587"/>
        </p:xfrm>
        <a:graphic>
          <a:graphicData uri="http://schemas.openxmlformats.org/presentationml/2006/ole">
            <mc:AlternateContent xmlns:mc="http://schemas.openxmlformats.org/markup-compatibility/2006">
              <mc:Choice xmlns:v="urn:schemas-microsoft-com:vml" Requires="v">
                <p:oleObj spid="_x0000_s112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77789" y="1589"/>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dirty="0" smtClean="0"/>
              <a:t>Teamaufstellung || Voraussetzungen</a:t>
            </a:r>
            <a:endParaRPr lang="de-DE" dirty="0"/>
          </a:p>
        </p:txBody>
      </p:sp>
      <p:sp>
        <p:nvSpPr>
          <p:cNvPr id="2" name="Textplatzhalter 1"/>
          <p:cNvSpPr>
            <a:spLocks noGrp="1"/>
          </p:cNvSpPr>
          <p:nvPr>
            <p:ph type="body" sz="quarter" idx="11"/>
          </p:nvPr>
        </p:nvSpPr>
        <p:spPr/>
        <p:txBody>
          <a:bodyPr/>
          <a:lstStyle/>
          <a:p>
            <a:r>
              <a:rPr lang="de-DE" dirty="0" smtClean="0"/>
              <a:t>KICC 2017</a:t>
            </a:r>
            <a:endParaRPr lang="de-DE" dirty="0"/>
          </a:p>
        </p:txBody>
      </p:sp>
      <p:grpSp>
        <p:nvGrpSpPr>
          <p:cNvPr id="5" name="Gruppieren 4"/>
          <p:cNvGrpSpPr/>
          <p:nvPr/>
        </p:nvGrpSpPr>
        <p:grpSpPr>
          <a:xfrm>
            <a:off x="910997" y="1320501"/>
            <a:ext cx="6402526" cy="4625540"/>
            <a:chOff x="857852" y="1455779"/>
            <a:chExt cx="6712088" cy="4445985"/>
          </a:xfrm>
        </p:grpSpPr>
        <p:grpSp>
          <p:nvGrpSpPr>
            <p:cNvPr id="4" name="Gruppieren 3"/>
            <p:cNvGrpSpPr/>
            <p:nvPr/>
          </p:nvGrpSpPr>
          <p:grpSpPr>
            <a:xfrm>
              <a:off x="1193816" y="1455779"/>
              <a:ext cx="6376124" cy="4445985"/>
              <a:chOff x="751217" y="1387719"/>
              <a:chExt cx="7202335" cy="4445985"/>
            </a:xfrm>
          </p:grpSpPr>
          <p:sp>
            <p:nvSpPr>
              <p:cNvPr id="27" name="AutoShape 4"/>
              <p:cNvSpPr>
                <a:spLocks noChangeArrowheads="1"/>
              </p:cNvSpPr>
              <p:nvPr/>
            </p:nvSpPr>
            <p:spPr bwMode="auto">
              <a:xfrm>
                <a:off x="760799" y="1387719"/>
                <a:ext cx="7192753" cy="630081"/>
              </a:xfrm>
              <a:prstGeom prst="rect">
                <a:avLst/>
              </a:prstGeom>
              <a:solidFill>
                <a:schemeClr val="bg1"/>
              </a:solidFill>
              <a:ln w="12700" algn="ctr">
                <a:solidFill>
                  <a:srgbClr val="00338D"/>
                </a:solidFill>
                <a:miter lim="800000"/>
                <a:headEnd/>
                <a:tailEnd/>
              </a:ln>
            </p:spPr>
            <p:txBody>
              <a:bodyPr wrap="square" lIns="54000" tIns="54000" rIns="54000" bIns="54000" anchor="ctr"/>
              <a:lstStyle/>
              <a:p>
                <a:pPr marL="0" lvl="2">
                  <a:defRPr/>
                </a:pPr>
                <a:r>
                  <a:rPr lang="de-DE" sz="1050" dirty="0" smtClean="0">
                    <a:solidFill>
                      <a:srgbClr val="00338D"/>
                    </a:solidFill>
                    <a:latin typeface="Arial" panose="020B0604020202020204" pitchFamily="34" charset="0"/>
                    <a:cs typeface="Arial" panose="020B0604020202020204" pitchFamily="34" charset="0"/>
                  </a:rPr>
                  <a:t>An der KICC 2017 können </a:t>
                </a:r>
                <a:r>
                  <a:rPr lang="de-DE" sz="1050" b="1" dirty="0" smtClean="0">
                    <a:solidFill>
                      <a:srgbClr val="00338D"/>
                    </a:solidFill>
                    <a:latin typeface="Arial" panose="020B0604020202020204" pitchFamily="34" charset="0"/>
                    <a:cs typeface="Arial" panose="020B0604020202020204" pitchFamily="34" charset="0"/>
                  </a:rPr>
                  <a:t>vierköpfige Studierendenteams </a:t>
                </a:r>
                <a:r>
                  <a:rPr lang="de-DE" sz="1050" dirty="0" smtClean="0">
                    <a:solidFill>
                      <a:srgbClr val="00338D"/>
                    </a:solidFill>
                    <a:latin typeface="Arial" panose="020B0604020202020204" pitchFamily="34" charset="0"/>
                    <a:cs typeface="Arial" panose="020B0604020202020204" pitchFamily="34" charset="0"/>
                  </a:rPr>
                  <a:t>teilnehmen </a:t>
                </a:r>
                <a:r>
                  <a:rPr lang="de-DE" sz="1050" dirty="0">
                    <a:solidFill>
                      <a:srgbClr val="00338D"/>
                    </a:solidFill>
                    <a:latin typeface="Arial" panose="020B0604020202020204" pitchFamily="34" charset="0"/>
                    <a:cs typeface="Arial" panose="020B0604020202020204" pitchFamily="34" charset="0"/>
                  </a:rPr>
                  <a:t>(Bewerbung nur als Team möglich</a:t>
                </a:r>
                <a:r>
                  <a:rPr lang="de-DE" sz="1050" dirty="0" smtClean="0">
                    <a:solidFill>
                      <a:srgbClr val="00338D"/>
                    </a:solidFill>
                    <a:latin typeface="Arial" panose="020B0604020202020204" pitchFamily="34" charset="0"/>
                    <a:cs typeface="Arial" panose="020B0604020202020204" pitchFamily="34" charset="0"/>
                  </a:rPr>
                  <a:t>).</a:t>
                </a:r>
                <a:endParaRPr lang="de-DE" sz="1050" dirty="0">
                  <a:solidFill>
                    <a:srgbClr val="00338D"/>
                  </a:solidFill>
                  <a:latin typeface="Arial" panose="020B0604020202020204" pitchFamily="34" charset="0"/>
                  <a:cs typeface="Arial" panose="020B0604020202020204" pitchFamily="34" charset="0"/>
                </a:endParaRPr>
              </a:p>
            </p:txBody>
          </p:sp>
          <p:sp>
            <p:nvSpPr>
              <p:cNvPr id="28" name="AutoShape 23"/>
              <p:cNvSpPr>
                <a:spLocks noChangeArrowheads="1"/>
              </p:cNvSpPr>
              <p:nvPr/>
            </p:nvSpPr>
            <p:spPr bwMode="auto">
              <a:xfrm>
                <a:off x="760799" y="2150155"/>
                <a:ext cx="7192753" cy="630081"/>
              </a:xfrm>
              <a:prstGeom prst="rect">
                <a:avLst/>
              </a:prstGeom>
              <a:solidFill>
                <a:schemeClr val="bg1"/>
              </a:solidFill>
              <a:ln w="12700" algn="ctr">
                <a:solidFill>
                  <a:srgbClr val="005EB8"/>
                </a:solidFill>
                <a:miter lim="800000"/>
                <a:headEnd/>
                <a:tailEnd/>
              </a:ln>
            </p:spPr>
            <p:txBody>
              <a:bodyPr wrap="square" lIns="54000" tIns="54000" rIns="54000" bIns="54000" anchor="ctr"/>
              <a:lstStyle/>
              <a:p>
                <a:pPr marL="0" lvl="2">
                  <a:defRPr/>
                </a:pPr>
                <a:r>
                  <a:rPr lang="de-DE" sz="1050" dirty="0" smtClean="0">
                    <a:solidFill>
                      <a:srgbClr val="00338D"/>
                    </a:solidFill>
                    <a:latin typeface="Arial" panose="020B0604020202020204" pitchFamily="34" charset="0"/>
                    <a:cs typeface="Arial" panose="020B0604020202020204" pitchFamily="34" charset="0"/>
                  </a:rPr>
                  <a:t>Alle Teammitglieder müssen bereits </a:t>
                </a:r>
                <a:r>
                  <a:rPr lang="de-DE" sz="1050" b="1" dirty="0" smtClean="0">
                    <a:solidFill>
                      <a:srgbClr val="00338D"/>
                    </a:solidFill>
                    <a:latin typeface="Arial" panose="020B0604020202020204" pitchFamily="34" charset="0"/>
                    <a:cs typeface="Arial" panose="020B0604020202020204" pitchFamily="34" charset="0"/>
                  </a:rPr>
                  <a:t>mindestens</a:t>
                </a:r>
                <a:r>
                  <a:rPr lang="de-DE" sz="1050" dirty="0" smtClean="0">
                    <a:solidFill>
                      <a:srgbClr val="00338D"/>
                    </a:solidFill>
                    <a:latin typeface="Arial" panose="020B0604020202020204" pitchFamily="34" charset="0"/>
                    <a:cs typeface="Arial" panose="020B0604020202020204" pitchFamily="34" charset="0"/>
                  </a:rPr>
                  <a:t> </a:t>
                </a:r>
                <a:r>
                  <a:rPr lang="de-DE" sz="1050" b="1" dirty="0" smtClean="0">
                    <a:solidFill>
                      <a:srgbClr val="00338D"/>
                    </a:solidFill>
                    <a:latin typeface="Arial" panose="020B0604020202020204" pitchFamily="34" charset="0"/>
                    <a:cs typeface="Arial" panose="020B0604020202020204" pitchFamily="34" charset="0"/>
                  </a:rPr>
                  <a:t>3 Semester </a:t>
                </a:r>
                <a:r>
                  <a:rPr lang="de-DE" sz="1050" b="1" dirty="0">
                    <a:solidFill>
                      <a:srgbClr val="00338D"/>
                    </a:solidFill>
                    <a:latin typeface="Arial" panose="020B0604020202020204" pitchFamily="34" charset="0"/>
                    <a:cs typeface="Arial" panose="020B0604020202020204" pitchFamily="34" charset="0"/>
                  </a:rPr>
                  <a:t>eines Bachelor-Studiengangs </a:t>
                </a:r>
                <a:r>
                  <a:rPr lang="de-DE" sz="1050" dirty="0" smtClean="0">
                    <a:solidFill>
                      <a:srgbClr val="00338D"/>
                    </a:solidFill>
                    <a:latin typeface="Arial" panose="020B0604020202020204" pitchFamily="34" charset="0"/>
                    <a:cs typeface="Arial" panose="020B0604020202020204" pitchFamily="34" charset="0"/>
                  </a:rPr>
                  <a:t>absolviert haben.</a:t>
                </a:r>
                <a:endParaRPr lang="de-DE" sz="1050" dirty="0">
                  <a:solidFill>
                    <a:srgbClr val="00338D"/>
                  </a:solidFill>
                  <a:latin typeface="Arial" panose="020B0604020202020204" pitchFamily="34" charset="0"/>
                  <a:cs typeface="Arial" panose="020B0604020202020204" pitchFamily="34" charset="0"/>
                </a:endParaRPr>
              </a:p>
            </p:txBody>
          </p:sp>
          <p:sp>
            <p:nvSpPr>
              <p:cNvPr id="29" name="AutoShape 24"/>
              <p:cNvSpPr>
                <a:spLocks noChangeArrowheads="1"/>
              </p:cNvSpPr>
              <p:nvPr/>
            </p:nvSpPr>
            <p:spPr bwMode="auto">
              <a:xfrm>
                <a:off x="751217" y="2912589"/>
                <a:ext cx="7192755" cy="630081"/>
              </a:xfrm>
              <a:prstGeom prst="rect">
                <a:avLst/>
              </a:prstGeom>
              <a:solidFill>
                <a:schemeClr val="bg1"/>
              </a:solidFill>
              <a:ln w="12700" algn="ctr">
                <a:solidFill>
                  <a:schemeClr val="accent1"/>
                </a:solidFill>
                <a:miter lim="800000"/>
                <a:headEnd/>
                <a:tailEnd/>
              </a:ln>
            </p:spPr>
            <p:txBody>
              <a:bodyPr wrap="square" lIns="54000" tIns="54000" rIns="54000" bIns="54000" anchor="ctr"/>
              <a:lstStyle/>
              <a:p>
                <a:pPr marL="0" lvl="2">
                  <a:defRPr/>
                </a:pPr>
                <a:r>
                  <a:rPr lang="de-DE" sz="1050" dirty="0" smtClean="0">
                    <a:solidFill>
                      <a:srgbClr val="00338D"/>
                    </a:solidFill>
                    <a:latin typeface="Arial" panose="020B0604020202020204" pitchFamily="34" charset="0"/>
                    <a:cs typeface="Arial" panose="020B0604020202020204" pitchFamily="34" charset="0"/>
                  </a:rPr>
                  <a:t>Besonders wichtig ist die </a:t>
                </a:r>
                <a:r>
                  <a:rPr lang="de-DE" sz="1050" b="1" dirty="0" smtClean="0">
                    <a:solidFill>
                      <a:srgbClr val="00338D"/>
                    </a:solidFill>
                    <a:latin typeface="Arial" panose="020B0604020202020204" pitchFamily="34" charset="0"/>
                    <a:cs typeface="Arial" panose="020B0604020202020204" pitchFamily="34" charset="0"/>
                  </a:rPr>
                  <a:t>interdisziplinäre </a:t>
                </a:r>
                <a:r>
                  <a:rPr lang="de-DE" sz="1050" b="1" dirty="0">
                    <a:solidFill>
                      <a:srgbClr val="00338D"/>
                    </a:solidFill>
                    <a:latin typeface="Arial" panose="020B0604020202020204" pitchFamily="34" charset="0"/>
                    <a:cs typeface="Arial" panose="020B0604020202020204" pitchFamily="34" charset="0"/>
                  </a:rPr>
                  <a:t>Aufstellung</a:t>
                </a:r>
                <a:r>
                  <a:rPr lang="de-DE" sz="1050" dirty="0">
                    <a:solidFill>
                      <a:srgbClr val="00338D"/>
                    </a:solidFill>
                    <a:latin typeface="Arial" panose="020B0604020202020204" pitchFamily="34" charset="0"/>
                    <a:cs typeface="Arial" panose="020B0604020202020204" pitchFamily="34" charset="0"/>
                  </a:rPr>
                  <a:t> des Teams hinsichtlich </a:t>
                </a:r>
                <a:r>
                  <a:rPr lang="de-DE" sz="1050" dirty="0" smtClean="0">
                    <a:solidFill>
                      <a:srgbClr val="00338D"/>
                    </a:solidFill>
                    <a:latin typeface="Arial" panose="020B0604020202020204" pitchFamily="34" charset="0"/>
                    <a:cs typeface="Arial" panose="020B0604020202020204" pitchFamily="34" charset="0"/>
                  </a:rPr>
                  <a:t>der Fähigkeiten</a:t>
                </a:r>
                <a:br>
                  <a:rPr lang="de-DE" sz="1050" dirty="0" smtClean="0">
                    <a:solidFill>
                      <a:srgbClr val="00338D"/>
                    </a:solidFill>
                    <a:latin typeface="Arial" panose="020B0604020202020204" pitchFamily="34" charset="0"/>
                    <a:cs typeface="Arial" panose="020B0604020202020204" pitchFamily="34" charset="0"/>
                  </a:rPr>
                </a:br>
                <a:r>
                  <a:rPr lang="de-DE" sz="1050" dirty="0" smtClean="0">
                    <a:solidFill>
                      <a:srgbClr val="00338D"/>
                    </a:solidFill>
                    <a:latin typeface="Arial" panose="020B0604020202020204" pitchFamily="34" charset="0"/>
                    <a:cs typeface="Arial" panose="020B0604020202020204" pitchFamily="34" charset="0"/>
                  </a:rPr>
                  <a:t>und des Wissens der einzelnen Teammitglieder. </a:t>
                </a:r>
                <a:r>
                  <a:rPr lang="de-DE" sz="1050" dirty="0">
                    <a:solidFill>
                      <a:srgbClr val="00338D"/>
                    </a:solidFill>
                    <a:latin typeface="Arial" panose="020B0604020202020204" pitchFamily="34" charset="0"/>
                    <a:cs typeface="Arial" panose="020B0604020202020204" pitchFamily="34" charset="0"/>
                  </a:rPr>
                  <a:t>M</a:t>
                </a:r>
                <a:r>
                  <a:rPr lang="de-DE" sz="1050" dirty="0" smtClean="0">
                    <a:solidFill>
                      <a:srgbClr val="00338D"/>
                    </a:solidFill>
                    <a:latin typeface="Arial" panose="020B0604020202020204" pitchFamily="34" charset="0"/>
                    <a:cs typeface="Arial" panose="020B0604020202020204" pitchFamily="34" charset="0"/>
                  </a:rPr>
                  <a:t>indestens </a:t>
                </a:r>
                <a:r>
                  <a:rPr lang="de-DE" sz="1050" dirty="0">
                    <a:solidFill>
                      <a:srgbClr val="00338D"/>
                    </a:solidFill>
                    <a:latin typeface="Arial" panose="020B0604020202020204" pitchFamily="34" charset="0"/>
                    <a:cs typeface="Arial" panose="020B0604020202020204" pitchFamily="34" charset="0"/>
                  </a:rPr>
                  <a:t>ein Teammitglied sollte </a:t>
                </a:r>
                <a:r>
                  <a:rPr lang="de-DE" sz="1050" dirty="0" smtClean="0">
                    <a:solidFill>
                      <a:srgbClr val="00338D"/>
                    </a:solidFill>
                    <a:latin typeface="Arial" panose="020B0604020202020204" pitchFamily="34" charset="0"/>
                    <a:cs typeface="Arial" panose="020B0604020202020204" pitchFamily="34" charset="0"/>
                  </a:rPr>
                  <a:t/>
                </a:r>
                <a:br>
                  <a:rPr lang="de-DE" sz="1050" dirty="0" smtClean="0">
                    <a:solidFill>
                      <a:srgbClr val="00338D"/>
                    </a:solidFill>
                    <a:latin typeface="Arial" panose="020B0604020202020204" pitchFamily="34" charset="0"/>
                    <a:cs typeface="Arial" panose="020B0604020202020204" pitchFamily="34" charset="0"/>
                  </a:rPr>
                </a:br>
                <a:r>
                  <a:rPr lang="de-DE" sz="1050" dirty="0" smtClean="0">
                    <a:solidFill>
                      <a:srgbClr val="00338D"/>
                    </a:solidFill>
                    <a:latin typeface="Arial" panose="020B0604020202020204" pitchFamily="34" charset="0"/>
                    <a:cs typeface="Arial" panose="020B0604020202020204" pitchFamily="34" charset="0"/>
                  </a:rPr>
                  <a:t>umfassende </a:t>
                </a:r>
                <a:r>
                  <a:rPr lang="de-DE" sz="1050" dirty="0">
                    <a:solidFill>
                      <a:srgbClr val="00338D"/>
                    </a:solidFill>
                    <a:latin typeface="Arial" panose="020B0604020202020204" pitchFamily="34" charset="0"/>
                    <a:cs typeface="Arial" panose="020B0604020202020204" pitchFamily="34" charset="0"/>
                  </a:rPr>
                  <a:t>Kenntnisse im Bereich Data Analytics/IT </a:t>
                </a:r>
                <a:r>
                  <a:rPr lang="de-DE" sz="1050" dirty="0" smtClean="0">
                    <a:solidFill>
                      <a:srgbClr val="00338D"/>
                    </a:solidFill>
                    <a:latin typeface="Arial" panose="020B0604020202020204" pitchFamily="34" charset="0"/>
                    <a:cs typeface="Arial" panose="020B0604020202020204" pitchFamily="34" charset="0"/>
                  </a:rPr>
                  <a:t>haben.</a:t>
                </a:r>
                <a:endParaRPr lang="de-DE" sz="1050" dirty="0">
                  <a:solidFill>
                    <a:srgbClr val="00338D"/>
                  </a:solidFill>
                  <a:latin typeface="Arial" panose="020B0604020202020204" pitchFamily="34" charset="0"/>
                  <a:cs typeface="Arial" panose="020B0604020202020204" pitchFamily="34" charset="0"/>
                </a:endParaRPr>
              </a:p>
            </p:txBody>
          </p:sp>
          <p:sp>
            <p:nvSpPr>
              <p:cNvPr id="30" name="AutoShape 25"/>
              <p:cNvSpPr>
                <a:spLocks noChangeArrowheads="1"/>
              </p:cNvSpPr>
              <p:nvPr/>
            </p:nvSpPr>
            <p:spPr bwMode="auto">
              <a:xfrm>
                <a:off x="760799" y="3676888"/>
                <a:ext cx="7192753" cy="630081"/>
              </a:xfrm>
              <a:prstGeom prst="rect">
                <a:avLst/>
              </a:prstGeom>
              <a:solidFill>
                <a:schemeClr val="bg1"/>
              </a:solidFill>
              <a:ln w="12700" algn="ctr">
                <a:solidFill>
                  <a:schemeClr val="accent2"/>
                </a:solidFill>
                <a:miter lim="800000"/>
                <a:headEnd/>
                <a:tailEnd/>
              </a:ln>
            </p:spPr>
            <p:txBody>
              <a:bodyPr wrap="square" lIns="54000" tIns="54000" rIns="54000" bIns="54000" anchor="ctr"/>
              <a:lstStyle/>
              <a:p>
                <a:pPr marL="0" lvl="2">
                  <a:defRPr/>
                </a:pPr>
                <a:r>
                  <a:rPr lang="de-DE" sz="1050" dirty="0" smtClean="0">
                    <a:solidFill>
                      <a:srgbClr val="00338D"/>
                    </a:solidFill>
                    <a:latin typeface="Arial" panose="020B0604020202020204" pitchFamily="34" charset="0"/>
                    <a:cs typeface="Arial" panose="020B0604020202020204" pitchFamily="34" charset="0"/>
                  </a:rPr>
                  <a:t>Bitte achten Sie bei der Teamzusammenstellung auf eine </a:t>
                </a:r>
                <a:r>
                  <a:rPr lang="de-DE" sz="1050" b="1" dirty="0" smtClean="0">
                    <a:solidFill>
                      <a:srgbClr val="00338D"/>
                    </a:solidFill>
                    <a:latin typeface="Arial" panose="020B0604020202020204" pitchFamily="34" charset="0"/>
                    <a:cs typeface="Arial" panose="020B0604020202020204" pitchFamily="34" charset="0"/>
                  </a:rPr>
                  <a:t>Gleichverteilung </a:t>
                </a:r>
                <a:r>
                  <a:rPr lang="de-DE" sz="1050" b="1" dirty="0">
                    <a:solidFill>
                      <a:srgbClr val="00338D"/>
                    </a:solidFill>
                    <a:latin typeface="Arial" panose="020B0604020202020204" pitchFamily="34" charset="0"/>
                    <a:cs typeface="Arial" panose="020B0604020202020204" pitchFamily="34" charset="0"/>
                  </a:rPr>
                  <a:t>der Geschlechter</a:t>
                </a:r>
                <a:r>
                  <a:rPr lang="de-DE" sz="1050" dirty="0">
                    <a:solidFill>
                      <a:srgbClr val="00338D"/>
                    </a:solidFill>
                    <a:latin typeface="Arial" panose="020B0604020202020204" pitchFamily="34" charset="0"/>
                    <a:cs typeface="Arial" panose="020B0604020202020204" pitchFamily="34" charset="0"/>
                  </a:rPr>
                  <a:t> in den Teams (idealerweise </a:t>
                </a:r>
                <a:r>
                  <a:rPr lang="de-DE" sz="1050" dirty="0" smtClean="0">
                    <a:solidFill>
                      <a:srgbClr val="00338D"/>
                    </a:solidFill>
                    <a:latin typeface="Arial" panose="020B0604020202020204" pitchFamily="34" charset="0"/>
                    <a:cs typeface="Arial" panose="020B0604020202020204" pitchFamily="34" charset="0"/>
                  </a:rPr>
                  <a:t>mindestens eine </a:t>
                </a:r>
                <a:r>
                  <a:rPr lang="de-DE" sz="1050" dirty="0">
                    <a:solidFill>
                      <a:srgbClr val="00338D"/>
                    </a:solidFill>
                    <a:latin typeface="Arial" panose="020B0604020202020204" pitchFamily="34" charset="0"/>
                    <a:cs typeface="Arial" panose="020B0604020202020204" pitchFamily="34" charset="0"/>
                  </a:rPr>
                  <a:t>Frau pro Team</a:t>
                </a:r>
                <a:r>
                  <a:rPr lang="de-DE" sz="1050" dirty="0" smtClean="0">
                    <a:solidFill>
                      <a:srgbClr val="00338D"/>
                    </a:solidFill>
                    <a:latin typeface="Arial" panose="020B0604020202020204" pitchFamily="34" charset="0"/>
                    <a:cs typeface="Arial" panose="020B0604020202020204" pitchFamily="34" charset="0"/>
                  </a:rPr>
                  <a:t>).</a:t>
                </a:r>
                <a:endParaRPr lang="de-DE" sz="1050" dirty="0">
                  <a:solidFill>
                    <a:srgbClr val="00338D"/>
                  </a:solidFill>
                  <a:latin typeface="Arial" panose="020B0604020202020204" pitchFamily="34" charset="0"/>
                  <a:cs typeface="Arial" panose="020B0604020202020204" pitchFamily="34" charset="0"/>
                </a:endParaRPr>
              </a:p>
            </p:txBody>
          </p:sp>
          <p:sp>
            <p:nvSpPr>
              <p:cNvPr id="31" name="AutoShape 26"/>
              <p:cNvSpPr>
                <a:spLocks noChangeArrowheads="1"/>
              </p:cNvSpPr>
              <p:nvPr/>
            </p:nvSpPr>
            <p:spPr bwMode="auto">
              <a:xfrm>
                <a:off x="760799" y="4437461"/>
                <a:ext cx="7192753" cy="630081"/>
              </a:xfrm>
              <a:prstGeom prst="rect">
                <a:avLst/>
              </a:prstGeom>
              <a:solidFill>
                <a:schemeClr val="bg1"/>
              </a:solidFill>
              <a:ln w="12700" algn="ctr">
                <a:solidFill>
                  <a:srgbClr val="4E2379"/>
                </a:solidFill>
                <a:miter lim="800000"/>
                <a:headEnd/>
                <a:tailEnd/>
              </a:ln>
            </p:spPr>
            <p:txBody>
              <a:bodyPr wrap="square" lIns="54000" tIns="54000" rIns="54000" bIns="54000" anchor="ctr"/>
              <a:lstStyle/>
              <a:p>
                <a:r>
                  <a:rPr lang="de-DE" sz="1050" dirty="0">
                    <a:solidFill>
                      <a:srgbClr val="00338D"/>
                    </a:solidFill>
                    <a:latin typeface="Arial" panose="020B0604020202020204" pitchFamily="34" charset="0"/>
                    <a:cs typeface="Arial" panose="020B0604020202020204" pitchFamily="34" charset="0"/>
                  </a:rPr>
                  <a:t>Alle Teammitglieder müssen bis </a:t>
                </a:r>
                <a:r>
                  <a:rPr lang="de-DE" sz="1050" dirty="0" smtClean="0">
                    <a:solidFill>
                      <a:srgbClr val="00338D"/>
                    </a:solidFill>
                    <a:latin typeface="Arial" panose="020B0604020202020204" pitchFamily="34" charset="0"/>
                    <a:cs typeface="Arial" panose="020B0604020202020204" pitchFamily="34" charset="0"/>
                  </a:rPr>
                  <a:t>mindestens Mai 2017 </a:t>
                </a:r>
                <a:r>
                  <a:rPr lang="de-DE" sz="1050" b="1" dirty="0" smtClean="0">
                    <a:solidFill>
                      <a:srgbClr val="00338D"/>
                    </a:solidFill>
                    <a:latin typeface="Arial" panose="020B0604020202020204" pitchFamily="34" charset="0"/>
                    <a:cs typeface="Arial" panose="020B0604020202020204" pitchFamily="34" charset="0"/>
                  </a:rPr>
                  <a:t>immatrikuliert</a:t>
                </a:r>
                <a:r>
                  <a:rPr lang="de-DE" sz="1050" dirty="0" smtClean="0">
                    <a:solidFill>
                      <a:srgbClr val="00338D"/>
                    </a:solidFill>
                    <a:latin typeface="Arial" panose="020B0604020202020204" pitchFamily="34" charset="0"/>
                    <a:cs typeface="Arial" panose="020B0604020202020204" pitchFamily="34" charset="0"/>
                  </a:rPr>
                  <a:t> </a:t>
                </a:r>
                <a:r>
                  <a:rPr lang="de-DE" sz="1050" dirty="0">
                    <a:solidFill>
                      <a:srgbClr val="00338D"/>
                    </a:solidFill>
                    <a:latin typeface="Arial" panose="020B0604020202020204" pitchFamily="34" charset="0"/>
                    <a:cs typeface="Arial" panose="020B0604020202020204" pitchFamily="34" charset="0"/>
                  </a:rPr>
                  <a:t>sein und dürfen </a:t>
                </a:r>
                <a:r>
                  <a:rPr lang="de-DE" sz="1050" b="1" dirty="0">
                    <a:solidFill>
                      <a:srgbClr val="00338D"/>
                    </a:solidFill>
                    <a:latin typeface="Arial" panose="020B0604020202020204" pitchFamily="34" charset="0"/>
                    <a:cs typeface="Arial" panose="020B0604020202020204" pitchFamily="34" charset="0"/>
                  </a:rPr>
                  <a:t>kein Auslandssemester </a:t>
                </a:r>
                <a:r>
                  <a:rPr lang="de-DE" sz="1050" dirty="0">
                    <a:solidFill>
                      <a:srgbClr val="00338D"/>
                    </a:solidFill>
                    <a:latin typeface="Arial" panose="020B0604020202020204" pitchFamily="34" charset="0"/>
                    <a:cs typeface="Arial" panose="020B0604020202020204" pitchFamily="34" charset="0"/>
                  </a:rPr>
                  <a:t>für den Zeitpunkt des nationalen und internationalen Finales geplant haben</a:t>
                </a:r>
                <a:r>
                  <a:rPr lang="de-DE" sz="1050" dirty="0" smtClean="0">
                    <a:solidFill>
                      <a:srgbClr val="00338D"/>
                    </a:solidFill>
                    <a:latin typeface="Arial" panose="020B0604020202020204" pitchFamily="34" charset="0"/>
                    <a:cs typeface="Arial" panose="020B0604020202020204" pitchFamily="34" charset="0"/>
                  </a:rPr>
                  <a:t>.</a:t>
                </a:r>
                <a:endParaRPr lang="de-DE" sz="1050" dirty="0">
                  <a:solidFill>
                    <a:srgbClr val="00338D"/>
                  </a:solidFill>
                  <a:latin typeface="Arial" panose="020B0604020202020204" pitchFamily="34" charset="0"/>
                  <a:cs typeface="Arial" panose="020B0604020202020204" pitchFamily="34" charset="0"/>
                </a:endParaRPr>
              </a:p>
            </p:txBody>
          </p:sp>
          <p:sp>
            <p:nvSpPr>
              <p:cNvPr id="32" name="AutoShape 27"/>
              <p:cNvSpPr>
                <a:spLocks noChangeArrowheads="1"/>
              </p:cNvSpPr>
              <p:nvPr/>
            </p:nvSpPr>
            <p:spPr bwMode="auto">
              <a:xfrm>
                <a:off x="760799" y="5203623"/>
                <a:ext cx="7192753" cy="630081"/>
              </a:xfrm>
              <a:prstGeom prst="rect">
                <a:avLst/>
              </a:prstGeom>
              <a:solidFill>
                <a:schemeClr val="bg1"/>
              </a:solidFill>
              <a:ln w="12700" algn="ctr">
                <a:solidFill>
                  <a:schemeClr val="accent4"/>
                </a:solidFill>
                <a:miter lim="800000"/>
                <a:headEnd/>
                <a:tailEnd/>
              </a:ln>
            </p:spPr>
            <p:txBody>
              <a:bodyPr wrap="square" lIns="54000" tIns="54000" rIns="54000" bIns="54000" anchor="ctr"/>
              <a:lstStyle/>
              <a:p>
                <a:pPr marL="0" lvl="2">
                  <a:defRPr/>
                </a:pPr>
                <a:r>
                  <a:rPr lang="de-DE" sz="1050" dirty="0" smtClean="0">
                    <a:solidFill>
                      <a:srgbClr val="00338D"/>
                    </a:solidFill>
                    <a:latin typeface="Arial" panose="020B0604020202020204" pitchFamily="34" charset="0"/>
                    <a:cs typeface="Arial" panose="020B0604020202020204" pitchFamily="34" charset="0"/>
                  </a:rPr>
                  <a:t>Eine Bewerbung ist </a:t>
                </a:r>
                <a:r>
                  <a:rPr lang="de-DE" sz="1050" b="1" u="sng" dirty="0" smtClean="0">
                    <a:solidFill>
                      <a:srgbClr val="00338D"/>
                    </a:solidFill>
                    <a:latin typeface="Arial" panose="020B0604020202020204" pitchFamily="34" charset="0"/>
                    <a:cs typeface="Arial" panose="020B0604020202020204" pitchFamily="34" charset="0"/>
                  </a:rPr>
                  <a:t>nicht</a:t>
                </a:r>
                <a:r>
                  <a:rPr lang="de-DE" sz="1050" dirty="0" smtClean="0">
                    <a:solidFill>
                      <a:srgbClr val="00338D"/>
                    </a:solidFill>
                    <a:latin typeface="Arial" panose="020B0604020202020204" pitchFamily="34" charset="0"/>
                    <a:cs typeface="Arial" panose="020B0604020202020204" pitchFamily="34" charset="0"/>
                  </a:rPr>
                  <a:t> möglich:</a:t>
                </a:r>
              </a:p>
              <a:p>
                <a:pPr marL="171450" lvl="2" indent="-171450">
                  <a:buFont typeface="Symbol" panose="05050102010706020507" pitchFamily="18" charset="2"/>
                  <a:buChar char="-"/>
                  <a:defRPr/>
                </a:pPr>
                <a:r>
                  <a:rPr lang="de-DE" sz="1050" dirty="0" smtClean="0">
                    <a:solidFill>
                      <a:srgbClr val="00338D"/>
                    </a:solidFill>
                    <a:latin typeface="Arial" panose="020B0604020202020204" pitchFamily="34" charset="0"/>
                    <a:cs typeface="Arial" panose="020B0604020202020204" pitchFamily="34" charset="0"/>
                  </a:rPr>
                  <a:t>Bei derzeitiger </a:t>
                </a:r>
                <a:r>
                  <a:rPr lang="de-DE" sz="1050" dirty="0">
                    <a:solidFill>
                      <a:srgbClr val="00338D"/>
                    </a:solidFill>
                    <a:latin typeface="Arial" panose="020B0604020202020204" pitchFamily="34" charset="0"/>
                    <a:cs typeface="Arial" panose="020B0604020202020204" pitchFamily="34" charset="0"/>
                  </a:rPr>
                  <a:t>Werksstudenten-/ Praktikantentätigkeit/ Festanstellung bei </a:t>
                </a:r>
                <a:r>
                  <a:rPr lang="de-DE" sz="1050" dirty="0" smtClean="0">
                    <a:solidFill>
                      <a:srgbClr val="00338D"/>
                    </a:solidFill>
                    <a:latin typeface="Arial" panose="020B0604020202020204" pitchFamily="34" charset="0"/>
                    <a:cs typeface="Arial" panose="020B0604020202020204" pitchFamily="34" charset="0"/>
                  </a:rPr>
                  <a:t>KMPG</a:t>
                </a:r>
              </a:p>
              <a:p>
                <a:pPr marL="171450" lvl="2" indent="-171450">
                  <a:buFont typeface="Symbol" panose="05050102010706020507" pitchFamily="18" charset="2"/>
                  <a:buChar char="-"/>
                  <a:defRPr/>
                </a:pPr>
                <a:r>
                  <a:rPr lang="de-DE" sz="1050" dirty="0" smtClean="0">
                    <a:solidFill>
                      <a:srgbClr val="00338D"/>
                    </a:solidFill>
                    <a:latin typeface="Arial" panose="020B0604020202020204" pitchFamily="34" charset="0"/>
                    <a:cs typeface="Arial" panose="020B0604020202020204" pitchFamily="34" charset="0"/>
                  </a:rPr>
                  <a:t>Wenn das Team oder einzelne Teammitglieder schon einmal an der KICC teilgenommen haben</a:t>
                </a:r>
              </a:p>
              <a:p>
                <a:pPr marL="171450" lvl="2" indent="-171450">
                  <a:buFont typeface="Symbol" panose="05050102010706020507" pitchFamily="18" charset="2"/>
                  <a:buChar char="-"/>
                  <a:defRPr/>
                </a:pPr>
                <a:r>
                  <a:rPr lang="de-DE" sz="1050" dirty="0" smtClean="0">
                    <a:solidFill>
                      <a:srgbClr val="00338D"/>
                    </a:solidFill>
                    <a:latin typeface="Arial" panose="020B0604020202020204" pitchFamily="34" charset="0"/>
                    <a:cs typeface="Arial" panose="020B0604020202020204" pitchFamily="34" charset="0"/>
                  </a:rPr>
                  <a:t>MBA-Studenten/Doktoranden sind zur Teilnahme nicht zugelassen</a:t>
                </a:r>
              </a:p>
            </p:txBody>
          </p:sp>
        </p:grpSp>
        <p:sp>
          <p:nvSpPr>
            <p:cNvPr id="33" name="Rectangle 10"/>
            <p:cNvSpPr>
              <a:spLocks noChangeArrowheads="1"/>
            </p:cNvSpPr>
            <p:nvPr/>
          </p:nvSpPr>
          <p:spPr bwMode="auto">
            <a:xfrm>
              <a:off x="863995" y="1455779"/>
              <a:ext cx="324000" cy="628218"/>
            </a:xfrm>
            <a:prstGeom prst="rect">
              <a:avLst/>
            </a:prstGeom>
            <a:solidFill>
              <a:srgbClr val="00338D"/>
            </a:solidFill>
            <a:ln w="12700">
              <a:solidFill>
                <a:srgbClr val="00338D"/>
              </a:solidFill>
              <a:miter lim="800000"/>
              <a:headEnd/>
              <a:tailEnd/>
            </a:ln>
          </p:spPr>
          <p:txBody>
            <a:bodyPr wrap="square" lIns="54000" tIns="54000" rIns="54000" bIns="54000" anchor="ctr" anchorCtr="1"/>
            <a:lstStyle/>
            <a:p>
              <a:pPr algn="ctr" eaLnBrk="0" hangingPunct="0"/>
              <a:r>
                <a:rPr kumimoji="1" lang="de-DE" sz="1400" b="1" dirty="0">
                  <a:solidFill>
                    <a:schemeClr val="bg1"/>
                  </a:solidFill>
                  <a:latin typeface="Arial" panose="020B0604020202020204" pitchFamily="34" charset="0"/>
                  <a:cs typeface="Arial" panose="020B0604020202020204" pitchFamily="34" charset="0"/>
                </a:rPr>
                <a:t>1</a:t>
              </a:r>
              <a:endParaRPr kumimoji="1" lang="de-DE" sz="1400" b="1" dirty="0">
                <a:solidFill>
                  <a:srgbClr val="000000"/>
                </a:solidFill>
                <a:latin typeface="Arial" panose="020B0604020202020204" pitchFamily="34" charset="0"/>
                <a:cs typeface="Arial" panose="020B0604020202020204" pitchFamily="34" charset="0"/>
              </a:endParaRPr>
            </a:p>
          </p:txBody>
        </p:sp>
        <p:sp>
          <p:nvSpPr>
            <p:cNvPr id="34" name="Rectangle 11"/>
            <p:cNvSpPr>
              <a:spLocks noChangeArrowheads="1"/>
            </p:cNvSpPr>
            <p:nvPr/>
          </p:nvSpPr>
          <p:spPr bwMode="auto">
            <a:xfrm>
              <a:off x="863996" y="2218215"/>
              <a:ext cx="324000" cy="628218"/>
            </a:xfrm>
            <a:prstGeom prst="rect">
              <a:avLst/>
            </a:prstGeom>
            <a:solidFill>
              <a:srgbClr val="005EB8"/>
            </a:solidFill>
            <a:ln w="12700">
              <a:solidFill>
                <a:srgbClr val="005EB8"/>
              </a:solidFill>
              <a:miter lim="800000"/>
              <a:headEnd/>
              <a:tailEnd/>
            </a:ln>
          </p:spPr>
          <p:txBody>
            <a:bodyPr wrap="square" lIns="54000" tIns="54000" rIns="54000" bIns="54000" anchor="ctr" anchorCtr="1"/>
            <a:lstStyle/>
            <a:p>
              <a:pPr algn="ctr" eaLnBrk="0" hangingPunct="0"/>
              <a:r>
                <a:rPr kumimoji="1" lang="de-DE" sz="1400" b="1" dirty="0">
                  <a:solidFill>
                    <a:schemeClr val="bg1"/>
                  </a:solidFill>
                  <a:latin typeface="Arial" panose="020B0604020202020204" pitchFamily="34" charset="0"/>
                  <a:cs typeface="Arial" panose="020B0604020202020204" pitchFamily="34" charset="0"/>
                </a:rPr>
                <a:t>2</a:t>
              </a:r>
              <a:endParaRPr kumimoji="1" lang="de-DE" sz="1400" b="1" dirty="0">
                <a:solidFill>
                  <a:srgbClr val="000000"/>
                </a:solidFill>
                <a:latin typeface="Arial" panose="020B0604020202020204" pitchFamily="34" charset="0"/>
                <a:cs typeface="Arial" panose="020B0604020202020204" pitchFamily="34" charset="0"/>
              </a:endParaRPr>
            </a:p>
          </p:txBody>
        </p:sp>
        <p:sp>
          <p:nvSpPr>
            <p:cNvPr id="35" name="Rectangle 12"/>
            <p:cNvSpPr>
              <a:spLocks noChangeArrowheads="1"/>
            </p:cNvSpPr>
            <p:nvPr/>
          </p:nvSpPr>
          <p:spPr bwMode="auto">
            <a:xfrm>
              <a:off x="857852" y="2981579"/>
              <a:ext cx="324000" cy="627288"/>
            </a:xfrm>
            <a:prstGeom prst="rect">
              <a:avLst/>
            </a:prstGeom>
            <a:solidFill>
              <a:srgbClr val="0091DA"/>
            </a:solidFill>
            <a:ln w="12700">
              <a:solidFill>
                <a:srgbClr val="0091DA"/>
              </a:solidFill>
              <a:miter lim="800000"/>
              <a:headEnd/>
              <a:tailEnd/>
            </a:ln>
          </p:spPr>
          <p:txBody>
            <a:bodyPr wrap="square" lIns="54000" tIns="54000" rIns="54000" bIns="54000" anchor="ctr" anchorCtr="1"/>
            <a:lstStyle/>
            <a:p>
              <a:pPr algn="ctr" eaLnBrk="0" hangingPunct="0"/>
              <a:r>
                <a:rPr kumimoji="1" lang="de-DE" sz="1400" b="1" dirty="0">
                  <a:solidFill>
                    <a:schemeClr val="bg1"/>
                  </a:solidFill>
                  <a:latin typeface="Arial" panose="020B0604020202020204" pitchFamily="34" charset="0"/>
                  <a:cs typeface="Arial" panose="020B0604020202020204" pitchFamily="34" charset="0"/>
                </a:rPr>
                <a:t>3</a:t>
              </a:r>
              <a:endParaRPr kumimoji="1" lang="de-DE" sz="1400" b="1" dirty="0">
                <a:solidFill>
                  <a:srgbClr val="000000"/>
                </a:solidFill>
                <a:latin typeface="Arial" panose="020B0604020202020204" pitchFamily="34" charset="0"/>
                <a:cs typeface="Arial" panose="020B0604020202020204" pitchFamily="34" charset="0"/>
              </a:endParaRPr>
            </a:p>
          </p:txBody>
        </p:sp>
        <p:sp>
          <p:nvSpPr>
            <p:cNvPr id="36" name="Rectangle 13"/>
            <p:cNvSpPr>
              <a:spLocks noChangeArrowheads="1"/>
            </p:cNvSpPr>
            <p:nvPr/>
          </p:nvSpPr>
          <p:spPr bwMode="auto">
            <a:xfrm>
              <a:off x="863996" y="3744948"/>
              <a:ext cx="324000" cy="628218"/>
            </a:xfrm>
            <a:prstGeom prst="rect">
              <a:avLst/>
            </a:prstGeom>
            <a:solidFill>
              <a:srgbClr val="483698"/>
            </a:solidFill>
            <a:ln w="12700">
              <a:solidFill>
                <a:srgbClr val="483698"/>
              </a:solidFill>
              <a:miter lim="800000"/>
              <a:headEnd/>
              <a:tailEnd/>
            </a:ln>
          </p:spPr>
          <p:txBody>
            <a:bodyPr wrap="square" lIns="54000" tIns="54000" rIns="54000" bIns="54000" anchor="ctr" anchorCtr="1"/>
            <a:lstStyle/>
            <a:p>
              <a:pPr algn="ctr" eaLnBrk="0" hangingPunct="0"/>
              <a:r>
                <a:rPr kumimoji="1" lang="de-DE" sz="1400" b="1" dirty="0">
                  <a:solidFill>
                    <a:schemeClr val="bg1"/>
                  </a:solidFill>
                  <a:latin typeface="Arial" panose="020B0604020202020204" pitchFamily="34" charset="0"/>
                  <a:cs typeface="Arial" panose="020B0604020202020204" pitchFamily="34" charset="0"/>
                </a:rPr>
                <a:t>4</a:t>
              </a:r>
              <a:endParaRPr kumimoji="1" lang="de-DE" sz="1400" b="1" dirty="0">
                <a:solidFill>
                  <a:srgbClr val="000000"/>
                </a:solidFill>
                <a:latin typeface="Arial" panose="020B0604020202020204" pitchFamily="34" charset="0"/>
                <a:cs typeface="Arial" panose="020B0604020202020204" pitchFamily="34" charset="0"/>
              </a:endParaRPr>
            </a:p>
          </p:txBody>
        </p:sp>
        <p:sp>
          <p:nvSpPr>
            <p:cNvPr id="37" name="Rectangle 14"/>
            <p:cNvSpPr>
              <a:spLocks noChangeArrowheads="1"/>
            </p:cNvSpPr>
            <p:nvPr/>
          </p:nvSpPr>
          <p:spPr bwMode="auto">
            <a:xfrm>
              <a:off x="863996" y="4507383"/>
              <a:ext cx="324000" cy="628218"/>
            </a:xfrm>
            <a:prstGeom prst="rect">
              <a:avLst/>
            </a:prstGeom>
            <a:solidFill>
              <a:srgbClr val="470A68"/>
            </a:solidFill>
            <a:ln w="12700">
              <a:solidFill>
                <a:srgbClr val="470A68"/>
              </a:solidFill>
              <a:miter lim="800000"/>
              <a:headEnd/>
              <a:tailEnd/>
            </a:ln>
          </p:spPr>
          <p:txBody>
            <a:bodyPr wrap="square" lIns="54000" tIns="54000" rIns="54000" bIns="54000" anchor="ctr" anchorCtr="1"/>
            <a:lstStyle/>
            <a:p>
              <a:pPr algn="ctr" eaLnBrk="0" hangingPunct="0"/>
              <a:r>
                <a:rPr kumimoji="1" lang="de-DE" sz="1400" b="1" dirty="0">
                  <a:solidFill>
                    <a:schemeClr val="bg1"/>
                  </a:solidFill>
                  <a:latin typeface="Arial" panose="020B0604020202020204" pitchFamily="34" charset="0"/>
                  <a:cs typeface="Arial" panose="020B0604020202020204" pitchFamily="34" charset="0"/>
                </a:rPr>
                <a:t>5</a:t>
              </a:r>
              <a:endParaRPr kumimoji="1" lang="de-DE" sz="1400" b="1" dirty="0">
                <a:solidFill>
                  <a:srgbClr val="000000"/>
                </a:solidFill>
                <a:latin typeface="Arial" panose="020B0604020202020204" pitchFamily="34" charset="0"/>
                <a:cs typeface="Arial" panose="020B0604020202020204" pitchFamily="34" charset="0"/>
              </a:endParaRPr>
            </a:p>
          </p:txBody>
        </p:sp>
        <p:sp>
          <p:nvSpPr>
            <p:cNvPr id="38" name="Rectangle 15"/>
            <p:cNvSpPr>
              <a:spLocks noChangeArrowheads="1"/>
            </p:cNvSpPr>
            <p:nvPr/>
          </p:nvSpPr>
          <p:spPr bwMode="auto">
            <a:xfrm>
              <a:off x="863996" y="5271682"/>
              <a:ext cx="324000" cy="628218"/>
            </a:xfrm>
            <a:prstGeom prst="rect">
              <a:avLst/>
            </a:prstGeom>
            <a:solidFill>
              <a:srgbClr val="6D2077"/>
            </a:solidFill>
            <a:ln w="12700">
              <a:solidFill>
                <a:srgbClr val="6D2077"/>
              </a:solidFill>
              <a:miter lim="800000"/>
              <a:headEnd/>
              <a:tailEnd/>
            </a:ln>
          </p:spPr>
          <p:txBody>
            <a:bodyPr wrap="square" lIns="54000" tIns="54000" rIns="54000" bIns="54000" anchor="ctr" anchorCtr="1"/>
            <a:lstStyle/>
            <a:p>
              <a:pPr algn="ctr" eaLnBrk="0" hangingPunct="0"/>
              <a:r>
                <a:rPr kumimoji="1" lang="de-DE" sz="1400" b="1" dirty="0">
                  <a:solidFill>
                    <a:schemeClr val="bg1"/>
                  </a:solidFill>
                  <a:latin typeface="Arial" panose="020B0604020202020204" pitchFamily="34" charset="0"/>
                  <a:cs typeface="Arial" panose="020B0604020202020204" pitchFamily="34" charset="0"/>
                </a:rPr>
                <a:t>6</a:t>
              </a:r>
              <a:endParaRPr kumimoji="1" lang="de-DE" sz="1400" b="1" dirty="0">
                <a:solidFill>
                  <a:srgbClr val="000000"/>
                </a:solidFill>
                <a:latin typeface="Arial" panose="020B0604020202020204" pitchFamily="34" charset="0"/>
                <a:cs typeface="Arial" panose="020B0604020202020204" pitchFamily="34" charset="0"/>
              </a:endParaRPr>
            </a:p>
          </p:txBody>
        </p:sp>
      </p:grpSp>
      <p:pic>
        <p:nvPicPr>
          <p:cNvPr id="77" name="Picture 215"/>
          <p:cNvPicPr>
            <a:picLocks noChangeAspect="1"/>
          </p:cNvPicPr>
          <p:nvPr/>
        </p:nvPicPr>
        <p:blipFill>
          <a:blip r:embed="rId7"/>
          <a:stretch>
            <a:fillRect/>
          </a:stretch>
        </p:blipFill>
        <p:spPr>
          <a:xfrm>
            <a:off x="8473982" y="2384276"/>
            <a:ext cx="1119736" cy="3521960"/>
          </a:xfrm>
          <a:prstGeom prst="rect">
            <a:avLst/>
          </a:prstGeom>
        </p:spPr>
      </p:pic>
      <p:grpSp>
        <p:nvGrpSpPr>
          <p:cNvPr id="58" name="Group 33"/>
          <p:cNvGrpSpPr>
            <a:grpSpLocks noChangeAspect="1"/>
          </p:cNvGrpSpPr>
          <p:nvPr/>
        </p:nvGrpSpPr>
        <p:grpSpPr bwMode="auto">
          <a:xfrm>
            <a:off x="6974273" y="2269709"/>
            <a:ext cx="1625104" cy="3663082"/>
            <a:chOff x="3165" y="619"/>
            <a:chExt cx="1354" cy="3052"/>
          </a:xfrm>
        </p:grpSpPr>
        <p:sp>
          <p:nvSpPr>
            <p:cNvPr id="59" name="Freeform 34"/>
            <p:cNvSpPr>
              <a:spLocks/>
            </p:cNvSpPr>
            <p:nvPr/>
          </p:nvSpPr>
          <p:spPr bwMode="auto">
            <a:xfrm>
              <a:off x="3165" y="1249"/>
              <a:ext cx="283" cy="211"/>
            </a:xfrm>
            <a:custGeom>
              <a:avLst/>
              <a:gdLst>
                <a:gd name="T0" fmla="*/ 177 w 283"/>
                <a:gd name="T1" fmla="*/ 191 h 211"/>
                <a:gd name="T2" fmla="*/ 76 w 283"/>
                <a:gd name="T3" fmla="*/ 163 h 211"/>
                <a:gd name="T4" fmla="*/ 0 w 283"/>
                <a:gd name="T5" fmla="*/ 23 h 211"/>
                <a:gd name="T6" fmla="*/ 17 w 283"/>
                <a:gd name="T7" fmla="*/ 0 h 211"/>
                <a:gd name="T8" fmla="*/ 106 w 283"/>
                <a:gd name="T9" fmla="*/ 99 h 211"/>
                <a:gd name="T10" fmla="*/ 200 w 283"/>
                <a:gd name="T11" fmla="*/ 92 h 211"/>
                <a:gd name="T12" fmla="*/ 246 w 283"/>
                <a:gd name="T13" fmla="*/ 143 h 211"/>
                <a:gd name="T14" fmla="*/ 283 w 283"/>
                <a:gd name="T15" fmla="*/ 198 h 211"/>
                <a:gd name="T16" fmla="*/ 212 w 283"/>
                <a:gd name="T17" fmla="*/ 211 h 211"/>
                <a:gd name="T18" fmla="*/ 177 w 283"/>
                <a:gd name="T19" fmla="*/ 19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11">
                  <a:moveTo>
                    <a:pt x="177" y="191"/>
                  </a:moveTo>
                  <a:lnTo>
                    <a:pt x="76" y="163"/>
                  </a:lnTo>
                  <a:lnTo>
                    <a:pt x="0" y="23"/>
                  </a:lnTo>
                  <a:lnTo>
                    <a:pt x="17" y="0"/>
                  </a:lnTo>
                  <a:lnTo>
                    <a:pt x="106" y="99"/>
                  </a:lnTo>
                  <a:lnTo>
                    <a:pt x="200" y="92"/>
                  </a:lnTo>
                  <a:lnTo>
                    <a:pt x="246" y="143"/>
                  </a:lnTo>
                  <a:lnTo>
                    <a:pt x="283" y="198"/>
                  </a:lnTo>
                  <a:lnTo>
                    <a:pt x="212" y="211"/>
                  </a:lnTo>
                  <a:lnTo>
                    <a:pt x="177" y="191"/>
                  </a:lnTo>
                  <a:close/>
                </a:path>
              </a:pathLst>
            </a:custGeom>
            <a:solidFill>
              <a:srgbClr val="8441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5"/>
            <p:cNvSpPr>
              <a:spLocks/>
            </p:cNvSpPr>
            <p:nvPr/>
          </p:nvSpPr>
          <p:spPr bwMode="auto">
            <a:xfrm>
              <a:off x="3335" y="1385"/>
              <a:ext cx="111" cy="87"/>
            </a:xfrm>
            <a:custGeom>
              <a:avLst/>
              <a:gdLst>
                <a:gd name="T0" fmla="*/ 41 w 63"/>
                <a:gd name="T1" fmla="*/ 0 h 49"/>
                <a:gd name="T2" fmla="*/ 0 w 63"/>
                <a:gd name="T3" fmla="*/ 34 h 49"/>
                <a:gd name="T4" fmla="*/ 17 w 63"/>
                <a:gd name="T5" fmla="*/ 49 h 49"/>
                <a:gd name="T6" fmla="*/ 63 w 63"/>
                <a:gd name="T7" fmla="*/ 26 h 49"/>
                <a:gd name="T8" fmla="*/ 41 w 63"/>
                <a:gd name="T9" fmla="*/ 0 h 49"/>
              </a:gdLst>
              <a:ahLst/>
              <a:cxnLst>
                <a:cxn ang="0">
                  <a:pos x="T0" y="T1"/>
                </a:cxn>
                <a:cxn ang="0">
                  <a:pos x="T2" y="T3"/>
                </a:cxn>
                <a:cxn ang="0">
                  <a:pos x="T4" y="T5"/>
                </a:cxn>
                <a:cxn ang="0">
                  <a:pos x="T6" y="T7"/>
                </a:cxn>
                <a:cxn ang="0">
                  <a:pos x="T8" y="T9"/>
                </a:cxn>
              </a:cxnLst>
              <a:rect l="0" t="0" r="r" b="b"/>
              <a:pathLst>
                <a:path w="63" h="49">
                  <a:moveTo>
                    <a:pt x="41" y="0"/>
                  </a:moveTo>
                  <a:cubicBezTo>
                    <a:pt x="27" y="12"/>
                    <a:pt x="14" y="23"/>
                    <a:pt x="0" y="34"/>
                  </a:cubicBezTo>
                  <a:cubicBezTo>
                    <a:pt x="17" y="49"/>
                    <a:pt x="17" y="49"/>
                    <a:pt x="17" y="49"/>
                  </a:cubicBezTo>
                  <a:cubicBezTo>
                    <a:pt x="63" y="26"/>
                    <a:pt x="63" y="26"/>
                    <a:pt x="63" y="26"/>
                  </a:cubicBezTo>
                  <a:lnTo>
                    <a:pt x="41" y="0"/>
                  </a:lnTo>
                  <a:close/>
                </a:path>
              </a:pathLst>
            </a:custGeom>
            <a:solidFill>
              <a:srgbClr val="BFD8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6"/>
            <p:cNvSpPr>
              <a:spLocks/>
            </p:cNvSpPr>
            <p:nvPr/>
          </p:nvSpPr>
          <p:spPr bwMode="auto">
            <a:xfrm>
              <a:off x="3616" y="1226"/>
              <a:ext cx="230" cy="617"/>
            </a:xfrm>
            <a:custGeom>
              <a:avLst/>
              <a:gdLst>
                <a:gd name="T0" fmla="*/ 86 w 130"/>
                <a:gd name="T1" fmla="*/ 1 h 349"/>
                <a:gd name="T2" fmla="*/ 57 w 130"/>
                <a:gd name="T3" fmla="*/ 58 h 349"/>
                <a:gd name="T4" fmla="*/ 0 w 130"/>
                <a:gd name="T5" fmla="*/ 225 h 349"/>
                <a:gd name="T6" fmla="*/ 0 w 130"/>
                <a:gd name="T7" fmla="*/ 315 h 349"/>
                <a:gd name="T8" fmla="*/ 5 w 130"/>
                <a:gd name="T9" fmla="*/ 339 h 349"/>
                <a:gd name="T10" fmla="*/ 68 w 130"/>
                <a:gd name="T11" fmla="*/ 272 h 349"/>
                <a:gd name="T12" fmla="*/ 125 w 130"/>
                <a:gd name="T13" fmla="*/ 151 h 349"/>
                <a:gd name="T14" fmla="*/ 86 w 130"/>
                <a:gd name="T15" fmla="*/ 1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349">
                  <a:moveTo>
                    <a:pt x="86" y="1"/>
                  </a:moveTo>
                  <a:cubicBezTo>
                    <a:pt x="75" y="0"/>
                    <a:pt x="66" y="26"/>
                    <a:pt x="57" y="58"/>
                  </a:cubicBezTo>
                  <a:cubicBezTo>
                    <a:pt x="42" y="108"/>
                    <a:pt x="22" y="176"/>
                    <a:pt x="0" y="225"/>
                  </a:cubicBezTo>
                  <a:cubicBezTo>
                    <a:pt x="0" y="315"/>
                    <a:pt x="0" y="315"/>
                    <a:pt x="0" y="315"/>
                  </a:cubicBezTo>
                  <a:cubicBezTo>
                    <a:pt x="3" y="326"/>
                    <a:pt x="2" y="334"/>
                    <a:pt x="5" y="339"/>
                  </a:cubicBezTo>
                  <a:cubicBezTo>
                    <a:pt x="11" y="349"/>
                    <a:pt x="61" y="284"/>
                    <a:pt x="68" y="272"/>
                  </a:cubicBezTo>
                  <a:cubicBezTo>
                    <a:pt x="91" y="235"/>
                    <a:pt x="106" y="193"/>
                    <a:pt x="125" y="151"/>
                  </a:cubicBezTo>
                  <a:cubicBezTo>
                    <a:pt x="108" y="76"/>
                    <a:pt x="130" y="64"/>
                    <a:pt x="86" y="1"/>
                  </a:cubicBez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37"/>
            <p:cNvSpPr>
              <a:spLocks/>
            </p:cNvSpPr>
            <p:nvPr/>
          </p:nvSpPr>
          <p:spPr bwMode="auto">
            <a:xfrm>
              <a:off x="3326" y="1389"/>
              <a:ext cx="334" cy="445"/>
            </a:xfrm>
            <a:custGeom>
              <a:avLst/>
              <a:gdLst>
                <a:gd name="T0" fmla="*/ 166 w 189"/>
                <a:gd name="T1" fmla="*/ 135 h 252"/>
                <a:gd name="T2" fmla="*/ 55 w 189"/>
                <a:gd name="T3" fmla="*/ 0 h 252"/>
                <a:gd name="T4" fmla="*/ 0 w 189"/>
                <a:gd name="T5" fmla="*/ 49 h 252"/>
                <a:gd name="T6" fmla="*/ 158 w 189"/>
                <a:gd name="T7" fmla="*/ 243 h 252"/>
                <a:gd name="T8" fmla="*/ 179 w 189"/>
                <a:gd name="T9" fmla="*/ 243 h 252"/>
                <a:gd name="T10" fmla="*/ 166 w 189"/>
                <a:gd name="T11" fmla="*/ 135 h 252"/>
              </a:gdLst>
              <a:ahLst/>
              <a:cxnLst>
                <a:cxn ang="0">
                  <a:pos x="T0" y="T1"/>
                </a:cxn>
                <a:cxn ang="0">
                  <a:pos x="T2" y="T3"/>
                </a:cxn>
                <a:cxn ang="0">
                  <a:pos x="T4" y="T5"/>
                </a:cxn>
                <a:cxn ang="0">
                  <a:pos x="T6" y="T7"/>
                </a:cxn>
                <a:cxn ang="0">
                  <a:pos x="T8" y="T9"/>
                </a:cxn>
                <a:cxn ang="0">
                  <a:pos x="T10" y="T11"/>
                </a:cxn>
              </a:cxnLst>
              <a:rect l="0" t="0" r="r" b="b"/>
              <a:pathLst>
                <a:path w="189" h="252">
                  <a:moveTo>
                    <a:pt x="166" y="135"/>
                  </a:moveTo>
                  <a:cubicBezTo>
                    <a:pt x="139" y="100"/>
                    <a:pt x="85" y="34"/>
                    <a:pt x="55" y="0"/>
                  </a:cubicBezTo>
                  <a:cubicBezTo>
                    <a:pt x="43" y="13"/>
                    <a:pt x="24" y="36"/>
                    <a:pt x="0" y="49"/>
                  </a:cubicBezTo>
                  <a:cubicBezTo>
                    <a:pt x="50" y="124"/>
                    <a:pt x="91" y="190"/>
                    <a:pt x="158" y="243"/>
                  </a:cubicBezTo>
                  <a:cubicBezTo>
                    <a:pt x="170" y="252"/>
                    <a:pt x="177" y="246"/>
                    <a:pt x="179" y="243"/>
                  </a:cubicBezTo>
                  <a:cubicBezTo>
                    <a:pt x="189" y="230"/>
                    <a:pt x="170" y="157"/>
                    <a:pt x="166" y="135"/>
                  </a:cubicBez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38"/>
            <p:cNvSpPr>
              <a:spLocks/>
            </p:cNvSpPr>
            <p:nvPr/>
          </p:nvSpPr>
          <p:spPr bwMode="auto">
            <a:xfrm>
              <a:off x="4336" y="1921"/>
              <a:ext cx="119" cy="295"/>
            </a:xfrm>
            <a:custGeom>
              <a:avLst/>
              <a:gdLst>
                <a:gd name="T0" fmla="*/ 119 w 119"/>
                <a:gd name="T1" fmla="*/ 91 h 295"/>
                <a:gd name="T2" fmla="*/ 96 w 119"/>
                <a:gd name="T3" fmla="*/ 185 h 295"/>
                <a:gd name="T4" fmla="*/ 22 w 119"/>
                <a:gd name="T5" fmla="*/ 295 h 295"/>
                <a:gd name="T6" fmla="*/ 0 w 119"/>
                <a:gd name="T7" fmla="*/ 282 h 295"/>
                <a:gd name="T8" fmla="*/ 36 w 119"/>
                <a:gd name="T9" fmla="*/ 167 h 295"/>
                <a:gd name="T10" fmla="*/ 18 w 119"/>
                <a:gd name="T11" fmla="*/ 86 h 295"/>
                <a:gd name="T12" fmla="*/ 57 w 119"/>
                <a:gd name="T13" fmla="*/ 39 h 295"/>
                <a:gd name="T14" fmla="*/ 101 w 119"/>
                <a:gd name="T15" fmla="*/ 0 h 295"/>
                <a:gd name="T16" fmla="*/ 119 w 119"/>
                <a:gd name="T17" fmla="*/ 60 h 295"/>
                <a:gd name="T18" fmla="*/ 119 w 119"/>
                <a:gd name="T19" fmla="*/ 9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295">
                  <a:moveTo>
                    <a:pt x="119" y="91"/>
                  </a:moveTo>
                  <a:lnTo>
                    <a:pt x="96" y="185"/>
                  </a:lnTo>
                  <a:lnTo>
                    <a:pt x="22" y="295"/>
                  </a:lnTo>
                  <a:lnTo>
                    <a:pt x="0" y="282"/>
                  </a:lnTo>
                  <a:lnTo>
                    <a:pt x="36" y="167"/>
                  </a:lnTo>
                  <a:lnTo>
                    <a:pt x="18" y="86"/>
                  </a:lnTo>
                  <a:lnTo>
                    <a:pt x="57" y="39"/>
                  </a:lnTo>
                  <a:lnTo>
                    <a:pt x="101" y="0"/>
                  </a:lnTo>
                  <a:lnTo>
                    <a:pt x="119" y="60"/>
                  </a:lnTo>
                  <a:lnTo>
                    <a:pt x="119" y="91"/>
                  </a:lnTo>
                  <a:close/>
                </a:path>
              </a:pathLst>
            </a:custGeom>
            <a:solidFill>
              <a:srgbClr val="8441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p:cNvSpPr>
              <a:spLocks/>
            </p:cNvSpPr>
            <p:nvPr/>
          </p:nvSpPr>
          <p:spPr bwMode="auto">
            <a:xfrm>
              <a:off x="3811" y="3442"/>
              <a:ext cx="290" cy="219"/>
            </a:xfrm>
            <a:custGeom>
              <a:avLst/>
              <a:gdLst>
                <a:gd name="T0" fmla="*/ 71 w 164"/>
                <a:gd name="T1" fmla="*/ 23 h 124"/>
                <a:gd name="T2" fmla="*/ 45 w 164"/>
                <a:gd name="T3" fmla="*/ 58 h 124"/>
                <a:gd name="T4" fmla="*/ 5 w 164"/>
                <a:gd name="T5" fmla="*/ 96 h 124"/>
                <a:gd name="T6" fmla="*/ 7 w 164"/>
                <a:gd name="T7" fmla="*/ 119 h 124"/>
                <a:gd name="T8" fmla="*/ 48 w 164"/>
                <a:gd name="T9" fmla="*/ 122 h 124"/>
                <a:gd name="T10" fmla="*/ 87 w 164"/>
                <a:gd name="T11" fmla="*/ 112 h 124"/>
                <a:gd name="T12" fmla="*/ 115 w 164"/>
                <a:gd name="T13" fmla="*/ 92 h 124"/>
                <a:gd name="T14" fmla="*/ 119 w 164"/>
                <a:gd name="T15" fmla="*/ 101 h 124"/>
                <a:gd name="T16" fmla="*/ 158 w 164"/>
                <a:gd name="T17" fmla="*/ 87 h 124"/>
                <a:gd name="T18" fmla="*/ 159 w 164"/>
                <a:gd name="T19" fmla="*/ 58 h 124"/>
                <a:gd name="T20" fmla="*/ 149 w 164"/>
                <a:gd name="T21" fmla="*/ 0 h 124"/>
                <a:gd name="T22" fmla="*/ 81 w 164"/>
                <a:gd name="T23" fmla="*/ 2 h 124"/>
                <a:gd name="T24" fmla="*/ 71 w 164"/>
                <a:gd name="T25" fmla="*/ 2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4" h="124">
                  <a:moveTo>
                    <a:pt x="71" y="23"/>
                  </a:moveTo>
                  <a:cubicBezTo>
                    <a:pt x="45" y="58"/>
                    <a:pt x="45" y="58"/>
                    <a:pt x="45" y="58"/>
                  </a:cubicBezTo>
                  <a:cubicBezTo>
                    <a:pt x="5" y="96"/>
                    <a:pt x="5" y="96"/>
                    <a:pt x="5" y="96"/>
                  </a:cubicBezTo>
                  <a:cubicBezTo>
                    <a:pt x="1" y="100"/>
                    <a:pt x="0" y="120"/>
                    <a:pt x="7" y="119"/>
                  </a:cubicBezTo>
                  <a:cubicBezTo>
                    <a:pt x="48" y="122"/>
                    <a:pt x="48" y="122"/>
                    <a:pt x="48" y="122"/>
                  </a:cubicBezTo>
                  <a:cubicBezTo>
                    <a:pt x="61" y="124"/>
                    <a:pt x="75" y="118"/>
                    <a:pt x="87" y="112"/>
                  </a:cubicBezTo>
                  <a:cubicBezTo>
                    <a:pt x="95" y="107"/>
                    <a:pt x="104" y="99"/>
                    <a:pt x="115" y="92"/>
                  </a:cubicBezTo>
                  <a:cubicBezTo>
                    <a:pt x="119" y="101"/>
                    <a:pt x="119" y="101"/>
                    <a:pt x="119" y="101"/>
                  </a:cubicBezTo>
                  <a:cubicBezTo>
                    <a:pt x="158" y="87"/>
                    <a:pt x="158" y="87"/>
                    <a:pt x="158" y="87"/>
                  </a:cubicBezTo>
                  <a:cubicBezTo>
                    <a:pt x="159" y="58"/>
                    <a:pt x="159" y="58"/>
                    <a:pt x="159" y="58"/>
                  </a:cubicBezTo>
                  <a:cubicBezTo>
                    <a:pt x="164" y="27"/>
                    <a:pt x="152" y="22"/>
                    <a:pt x="149" y="0"/>
                  </a:cubicBezTo>
                  <a:cubicBezTo>
                    <a:pt x="81" y="2"/>
                    <a:pt x="81" y="2"/>
                    <a:pt x="81" y="2"/>
                  </a:cubicBezTo>
                  <a:lnTo>
                    <a:pt x="71" y="23"/>
                  </a:lnTo>
                  <a:close/>
                </a:path>
              </a:pathLst>
            </a:custGeom>
            <a:solidFill>
              <a:srgbClr val="1F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p:cNvSpPr>
              <a:spLocks/>
            </p:cNvSpPr>
            <p:nvPr/>
          </p:nvSpPr>
          <p:spPr bwMode="auto">
            <a:xfrm>
              <a:off x="4253" y="3431"/>
              <a:ext cx="188" cy="240"/>
            </a:xfrm>
            <a:custGeom>
              <a:avLst/>
              <a:gdLst>
                <a:gd name="T0" fmla="*/ 0 w 188"/>
                <a:gd name="T1" fmla="*/ 18 h 240"/>
                <a:gd name="T2" fmla="*/ 4 w 188"/>
                <a:gd name="T3" fmla="*/ 161 h 240"/>
                <a:gd name="T4" fmla="*/ 71 w 188"/>
                <a:gd name="T5" fmla="*/ 240 h 240"/>
                <a:gd name="T6" fmla="*/ 184 w 188"/>
                <a:gd name="T7" fmla="*/ 224 h 240"/>
                <a:gd name="T8" fmla="*/ 188 w 188"/>
                <a:gd name="T9" fmla="*/ 117 h 240"/>
                <a:gd name="T10" fmla="*/ 128 w 188"/>
                <a:gd name="T11" fmla="*/ 0 h 240"/>
                <a:gd name="T12" fmla="*/ 0 w 188"/>
                <a:gd name="T13" fmla="*/ 18 h 240"/>
              </a:gdLst>
              <a:ahLst/>
              <a:cxnLst>
                <a:cxn ang="0">
                  <a:pos x="T0" y="T1"/>
                </a:cxn>
                <a:cxn ang="0">
                  <a:pos x="T2" y="T3"/>
                </a:cxn>
                <a:cxn ang="0">
                  <a:pos x="T4" y="T5"/>
                </a:cxn>
                <a:cxn ang="0">
                  <a:pos x="T6" y="T7"/>
                </a:cxn>
                <a:cxn ang="0">
                  <a:pos x="T8" y="T9"/>
                </a:cxn>
                <a:cxn ang="0">
                  <a:pos x="T10" y="T11"/>
                </a:cxn>
                <a:cxn ang="0">
                  <a:pos x="T12" y="T13"/>
                </a:cxn>
              </a:cxnLst>
              <a:rect l="0" t="0" r="r" b="b"/>
              <a:pathLst>
                <a:path w="188" h="240">
                  <a:moveTo>
                    <a:pt x="0" y="18"/>
                  </a:moveTo>
                  <a:lnTo>
                    <a:pt x="4" y="161"/>
                  </a:lnTo>
                  <a:lnTo>
                    <a:pt x="71" y="240"/>
                  </a:lnTo>
                  <a:lnTo>
                    <a:pt x="184" y="224"/>
                  </a:lnTo>
                  <a:lnTo>
                    <a:pt x="188" y="117"/>
                  </a:lnTo>
                  <a:lnTo>
                    <a:pt x="128" y="0"/>
                  </a:lnTo>
                  <a:lnTo>
                    <a:pt x="0" y="18"/>
                  </a:lnTo>
                  <a:close/>
                </a:path>
              </a:pathLst>
            </a:custGeom>
            <a:solidFill>
              <a:srgbClr val="1F1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p:cNvSpPr>
              <a:spLocks/>
            </p:cNvSpPr>
            <p:nvPr/>
          </p:nvSpPr>
          <p:spPr bwMode="auto">
            <a:xfrm>
              <a:off x="4080" y="1960"/>
              <a:ext cx="331" cy="1524"/>
            </a:xfrm>
            <a:custGeom>
              <a:avLst/>
              <a:gdLst>
                <a:gd name="T0" fmla="*/ 225 w 331"/>
                <a:gd name="T1" fmla="*/ 0 h 1524"/>
                <a:gd name="T2" fmla="*/ 292 w 331"/>
                <a:gd name="T3" fmla="*/ 351 h 1524"/>
                <a:gd name="T4" fmla="*/ 331 w 331"/>
                <a:gd name="T5" fmla="*/ 1501 h 1524"/>
                <a:gd name="T6" fmla="*/ 248 w 331"/>
                <a:gd name="T7" fmla="*/ 1524 h 1524"/>
                <a:gd name="T8" fmla="*/ 152 w 331"/>
                <a:gd name="T9" fmla="*/ 1513 h 1524"/>
                <a:gd name="T10" fmla="*/ 55 w 331"/>
                <a:gd name="T11" fmla="*/ 422 h 1524"/>
                <a:gd name="T12" fmla="*/ 33 w 331"/>
                <a:gd name="T13" fmla="*/ 409 h 1524"/>
                <a:gd name="T14" fmla="*/ 0 w 331"/>
                <a:gd name="T15" fmla="*/ 1 h 1524"/>
                <a:gd name="T16" fmla="*/ 225 w 331"/>
                <a:gd name="T17" fmla="*/ 0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1524">
                  <a:moveTo>
                    <a:pt x="225" y="0"/>
                  </a:moveTo>
                  <a:lnTo>
                    <a:pt x="292" y="351"/>
                  </a:lnTo>
                  <a:lnTo>
                    <a:pt x="331" y="1501"/>
                  </a:lnTo>
                  <a:lnTo>
                    <a:pt x="248" y="1524"/>
                  </a:lnTo>
                  <a:lnTo>
                    <a:pt x="152" y="1513"/>
                  </a:lnTo>
                  <a:lnTo>
                    <a:pt x="55" y="422"/>
                  </a:lnTo>
                  <a:lnTo>
                    <a:pt x="33" y="409"/>
                  </a:lnTo>
                  <a:lnTo>
                    <a:pt x="0" y="1"/>
                  </a:lnTo>
                  <a:lnTo>
                    <a:pt x="225" y="0"/>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p:cNvSpPr>
              <a:spLocks/>
            </p:cNvSpPr>
            <p:nvPr/>
          </p:nvSpPr>
          <p:spPr bwMode="auto">
            <a:xfrm>
              <a:off x="3830" y="1960"/>
              <a:ext cx="283" cy="1527"/>
            </a:xfrm>
            <a:custGeom>
              <a:avLst/>
              <a:gdLst>
                <a:gd name="T0" fmla="*/ 33 w 160"/>
                <a:gd name="T1" fmla="*/ 0 h 865"/>
                <a:gd name="T2" fmla="*/ 0 w 160"/>
                <a:gd name="T3" fmla="*/ 151 h 865"/>
                <a:gd name="T4" fmla="*/ 52 w 160"/>
                <a:gd name="T5" fmla="*/ 860 h 865"/>
                <a:gd name="T6" fmla="*/ 101 w 160"/>
                <a:gd name="T7" fmla="*/ 865 h 865"/>
                <a:gd name="T8" fmla="*/ 155 w 160"/>
                <a:gd name="T9" fmla="*/ 862 h 865"/>
                <a:gd name="T10" fmla="*/ 152 w 160"/>
                <a:gd name="T11" fmla="*/ 243 h 865"/>
                <a:gd name="T12" fmla="*/ 160 w 160"/>
                <a:gd name="T13" fmla="*/ 232 h 865"/>
                <a:gd name="T14" fmla="*/ 160 w 160"/>
                <a:gd name="T15" fmla="*/ 1 h 865"/>
                <a:gd name="T16" fmla="*/ 33 w 160"/>
                <a:gd name="T17" fmla="*/ 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865">
                  <a:moveTo>
                    <a:pt x="33" y="0"/>
                  </a:moveTo>
                  <a:cubicBezTo>
                    <a:pt x="0" y="151"/>
                    <a:pt x="0" y="151"/>
                    <a:pt x="0" y="151"/>
                  </a:cubicBezTo>
                  <a:cubicBezTo>
                    <a:pt x="35" y="375"/>
                    <a:pt x="39" y="634"/>
                    <a:pt x="52" y="860"/>
                  </a:cubicBezTo>
                  <a:cubicBezTo>
                    <a:pt x="101" y="865"/>
                    <a:pt x="101" y="865"/>
                    <a:pt x="101" y="865"/>
                  </a:cubicBezTo>
                  <a:cubicBezTo>
                    <a:pt x="155" y="862"/>
                    <a:pt x="155" y="862"/>
                    <a:pt x="155" y="862"/>
                  </a:cubicBezTo>
                  <a:cubicBezTo>
                    <a:pt x="152" y="243"/>
                    <a:pt x="152" y="243"/>
                    <a:pt x="152" y="243"/>
                  </a:cubicBezTo>
                  <a:cubicBezTo>
                    <a:pt x="160" y="232"/>
                    <a:pt x="160" y="232"/>
                    <a:pt x="160" y="232"/>
                  </a:cubicBezTo>
                  <a:cubicBezTo>
                    <a:pt x="160" y="1"/>
                    <a:pt x="160" y="1"/>
                    <a:pt x="160" y="1"/>
                  </a:cubicBezTo>
                  <a:lnTo>
                    <a:pt x="33" y="0"/>
                  </a:ln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p:cNvSpPr>
              <a:spLocks/>
            </p:cNvSpPr>
            <p:nvPr/>
          </p:nvSpPr>
          <p:spPr bwMode="auto">
            <a:xfrm>
              <a:off x="3963" y="1961"/>
              <a:ext cx="150" cy="1525"/>
            </a:xfrm>
            <a:custGeom>
              <a:avLst/>
              <a:gdLst>
                <a:gd name="T0" fmla="*/ 0 w 150"/>
                <a:gd name="T1" fmla="*/ 408 h 1525"/>
                <a:gd name="T2" fmla="*/ 44 w 150"/>
                <a:gd name="T3" fmla="*/ 1525 h 1525"/>
                <a:gd name="T4" fmla="*/ 142 w 150"/>
                <a:gd name="T5" fmla="*/ 1521 h 1525"/>
                <a:gd name="T6" fmla="*/ 136 w 150"/>
                <a:gd name="T7" fmla="*/ 428 h 1525"/>
                <a:gd name="T8" fmla="*/ 150 w 150"/>
                <a:gd name="T9" fmla="*/ 408 h 1525"/>
                <a:gd name="T10" fmla="*/ 150 w 150"/>
                <a:gd name="T11" fmla="*/ 0 h 1525"/>
                <a:gd name="T12" fmla="*/ 51 w 150"/>
                <a:gd name="T13" fmla="*/ 11 h 1525"/>
                <a:gd name="T14" fmla="*/ 0 w 150"/>
                <a:gd name="T15" fmla="*/ 408 h 15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525">
                  <a:moveTo>
                    <a:pt x="0" y="408"/>
                  </a:moveTo>
                  <a:lnTo>
                    <a:pt x="44" y="1525"/>
                  </a:lnTo>
                  <a:lnTo>
                    <a:pt x="142" y="1521"/>
                  </a:lnTo>
                  <a:lnTo>
                    <a:pt x="136" y="428"/>
                  </a:lnTo>
                  <a:lnTo>
                    <a:pt x="150" y="408"/>
                  </a:lnTo>
                  <a:lnTo>
                    <a:pt x="150" y="0"/>
                  </a:lnTo>
                  <a:lnTo>
                    <a:pt x="51" y="11"/>
                  </a:lnTo>
                  <a:lnTo>
                    <a:pt x="0" y="408"/>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p:cNvSpPr>
              <a:spLocks/>
            </p:cNvSpPr>
            <p:nvPr/>
          </p:nvSpPr>
          <p:spPr bwMode="auto">
            <a:xfrm>
              <a:off x="4193" y="1960"/>
              <a:ext cx="218" cy="1524"/>
            </a:xfrm>
            <a:custGeom>
              <a:avLst/>
              <a:gdLst>
                <a:gd name="T0" fmla="*/ 112 w 218"/>
                <a:gd name="T1" fmla="*/ 0 h 1524"/>
                <a:gd name="T2" fmla="*/ 179 w 218"/>
                <a:gd name="T3" fmla="*/ 351 h 1524"/>
                <a:gd name="T4" fmla="*/ 218 w 218"/>
                <a:gd name="T5" fmla="*/ 1501 h 1524"/>
                <a:gd name="T6" fmla="*/ 136 w 218"/>
                <a:gd name="T7" fmla="*/ 1524 h 1524"/>
                <a:gd name="T8" fmla="*/ 64 w 218"/>
                <a:gd name="T9" fmla="*/ 381 h 1524"/>
                <a:gd name="T10" fmla="*/ 0 w 218"/>
                <a:gd name="T11" fmla="*/ 1 h 1524"/>
                <a:gd name="T12" fmla="*/ 112 w 218"/>
                <a:gd name="T13" fmla="*/ 0 h 1524"/>
              </a:gdLst>
              <a:ahLst/>
              <a:cxnLst>
                <a:cxn ang="0">
                  <a:pos x="T0" y="T1"/>
                </a:cxn>
                <a:cxn ang="0">
                  <a:pos x="T2" y="T3"/>
                </a:cxn>
                <a:cxn ang="0">
                  <a:pos x="T4" y="T5"/>
                </a:cxn>
                <a:cxn ang="0">
                  <a:pos x="T6" y="T7"/>
                </a:cxn>
                <a:cxn ang="0">
                  <a:pos x="T8" y="T9"/>
                </a:cxn>
                <a:cxn ang="0">
                  <a:pos x="T10" y="T11"/>
                </a:cxn>
                <a:cxn ang="0">
                  <a:pos x="T12" y="T13"/>
                </a:cxn>
              </a:cxnLst>
              <a:rect l="0" t="0" r="r" b="b"/>
              <a:pathLst>
                <a:path w="218" h="1524">
                  <a:moveTo>
                    <a:pt x="112" y="0"/>
                  </a:moveTo>
                  <a:lnTo>
                    <a:pt x="179" y="351"/>
                  </a:lnTo>
                  <a:lnTo>
                    <a:pt x="218" y="1501"/>
                  </a:lnTo>
                  <a:lnTo>
                    <a:pt x="136" y="1524"/>
                  </a:lnTo>
                  <a:lnTo>
                    <a:pt x="64" y="381"/>
                  </a:lnTo>
                  <a:lnTo>
                    <a:pt x="0" y="1"/>
                  </a:lnTo>
                  <a:lnTo>
                    <a:pt x="112" y="0"/>
                  </a:ln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Rectangle 45"/>
            <p:cNvSpPr>
              <a:spLocks noChangeArrowheads="1"/>
            </p:cNvSpPr>
            <p:nvPr/>
          </p:nvSpPr>
          <p:spPr bwMode="auto">
            <a:xfrm>
              <a:off x="4011" y="1007"/>
              <a:ext cx="179" cy="145"/>
            </a:xfrm>
            <a:prstGeom prst="rect">
              <a:avLst/>
            </a:prstGeom>
            <a:solidFill>
              <a:srgbClr val="84411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p:cNvSpPr>
              <a:spLocks/>
            </p:cNvSpPr>
            <p:nvPr/>
          </p:nvSpPr>
          <p:spPr bwMode="auto">
            <a:xfrm>
              <a:off x="3949" y="696"/>
              <a:ext cx="294" cy="380"/>
            </a:xfrm>
            <a:custGeom>
              <a:avLst/>
              <a:gdLst>
                <a:gd name="T0" fmla="*/ 85 w 166"/>
                <a:gd name="T1" fmla="*/ 215 h 215"/>
                <a:gd name="T2" fmla="*/ 84 w 166"/>
                <a:gd name="T3" fmla="*/ 215 h 215"/>
                <a:gd name="T4" fmla="*/ 63 w 166"/>
                <a:gd name="T5" fmla="*/ 212 h 215"/>
                <a:gd name="T6" fmla="*/ 48 w 166"/>
                <a:gd name="T7" fmla="*/ 198 h 215"/>
                <a:gd name="T8" fmla="*/ 28 w 166"/>
                <a:gd name="T9" fmla="*/ 179 h 215"/>
                <a:gd name="T10" fmla="*/ 24 w 166"/>
                <a:gd name="T11" fmla="*/ 151 h 215"/>
                <a:gd name="T12" fmla="*/ 11 w 166"/>
                <a:gd name="T13" fmla="*/ 132 h 215"/>
                <a:gd name="T14" fmla="*/ 1 w 166"/>
                <a:gd name="T15" fmla="*/ 102 h 215"/>
                <a:gd name="T16" fmla="*/ 3 w 166"/>
                <a:gd name="T17" fmla="*/ 91 h 215"/>
                <a:gd name="T18" fmla="*/ 16 w 166"/>
                <a:gd name="T19" fmla="*/ 97 h 215"/>
                <a:gd name="T20" fmla="*/ 17 w 166"/>
                <a:gd name="T21" fmla="*/ 77 h 215"/>
                <a:gd name="T22" fmla="*/ 17 w 166"/>
                <a:gd name="T23" fmla="*/ 44 h 215"/>
                <a:gd name="T24" fmla="*/ 30 w 166"/>
                <a:gd name="T25" fmla="*/ 20 h 215"/>
                <a:gd name="T26" fmla="*/ 30 w 166"/>
                <a:gd name="T27" fmla="*/ 20 h 215"/>
                <a:gd name="T28" fmla="*/ 30 w 166"/>
                <a:gd name="T29" fmla="*/ 20 h 215"/>
                <a:gd name="T30" fmla="*/ 44 w 166"/>
                <a:gd name="T31" fmla="*/ 10 h 215"/>
                <a:gd name="T32" fmla="*/ 45 w 166"/>
                <a:gd name="T33" fmla="*/ 10 h 215"/>
                <a:gd name="T34" fmla="*/ 46 w 166"/>
                <a:gd name="T35" fmla="*/ 10 h 215"/>
                <a:gd name="T36" fmla="*/ 46 w 166"/>
                <a:gd name="T37" fmla="*/ 9 h 215"/>
                <a:gd name="T38" fmla="*/ 47 w 166"/>
                <a:gd name="T39" fmla="*/ 9 h 215"/>
                <a:gd name="T40" fmla="*/ 48 w 166"/>
                <a:gd name="T41" fmla="*/ 9 h 215"/>
                <a:gd name="T42" fmla="*/ 49 w 166"/>
                <a:gd name="T43" fmla="*/ 8 h 215"/>
                <a:gd name="T44" fmla="*/ 50 w 166"/>
                <a:gd name="T45" fmla="*/ 8 h 215"/>
                <a:gd name="T46" fmla="*/ 51 w 166"/>
                <a:gd name="T47" fmla="*/ 8 h 215"/>
                <a:gd name="T48" fmla="*/ 51 w 166"/>
                <a:gd name="T49" fmla="*/ 7 h 215"/>
                <a:gd name="T50" fmla="*/ 53 w 166"/>
                <a:gd name="T51" fmla="*/ 7 h 215"/>
                <a:gd name="T52" fmla="*/ 53 w 166"/>
                <a:gd name="T53" fmla="*/ 7 h 215"/>
                <a:gd name="T54" fmla="*/ 97 w 166"/>
                <a:gd name="T55" fmla="*/ 2 h 215"/>
                <a:gd name="T56" fmla="*/ 137 w 166"/>
                <a:gd name="T57" fmla="*/ 20 h 215"/>
                <a:gd name="T58" fmla="*/ 150 w 166"/>
                <a:gd name="T59" fmla="*/ 44 h 215"/>
                <a:gd name="T60" fmla="*/ 150 w 166"/>
                <a:gd name="T61" fmla="*/ 77 h 215"/>
                <a:gd name="T62" fmla="*/ 151 w 166"/>
                <a:gd name="T63" fmla="*/ 97 h 215"/>
                <a:gd name="T64" fmla="*/ 164 w 166"/>
                <a:gd name="T65" fmla="*/ 91 h 215"/>
                <a:gd name="T66" fmla="*/ 165 w 166"/>
                <a:gd name="T67" fmla="*/ 102 h 215"/>
                <a:gd name="T68" fmla="*/ 156 w 166"/>
                <a:gd name="T69" fmla="*/ 132 h 215"/>
                <a:gd name="T70" fmla="*/ 143 w 166"/>
                <a:gd name="T71" fmla="*/ 151 h 215"/>
                <a:gd name="T72" fmla="*/ 139 w 166"/>
                <a:gd name="T73" fmla="*/ 179 h 215"/>
                <a:gd name="T74" fmla="*/ 119 w 166"/>
                <a:gd name="T75" fmla="*/ 197 h 215"/>
                <a:gd name="T76" fmla="*/ 104 w 166"/>
                <a:gd name="T77" fmla="*/ 212 h 215"/>
                <a:gd name="T78" fmla="*/ 85 w 166"/>
                <a:gd name="T79"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15">
                  <a:moveTo>
                    <a:pt x="85" y="215"/>
                  </a:moveTo>
                  <a:cubicBezTo>
                    <a:pt x="84" y="215"/>
                    <a:pt x="84" y="215"/>
                    <a:pt x="84" y="215"/>
                  </a:cubicBezTo>
                  <a:cubicBezTo>
                    <a:pt x="74" y="215"/>
                    <a:pt x="69" y="215"/>
                    <a:pt x="63" y="212"/>
                  </a:cubicBezTo>
                  <a:cubicBezTo>
                    <a:pt x="58" y="210"/>
                    <a:pt x="55" y="205"/>
                    <a:pt x="48" y="198"/>
                  </a:cubicBezTo>
                  <a:cubicBezTo>
                    <a:pt x="42" y="192"/>
                    <a:pt x="31" y="186"/>
                    <a:pt x="28" y="179"/>
                  </a:cubicBezTo>
                  <a:cubicBezTo>
                    <a:pt x="25" y="171"/>
                    <a:pt x="25" y="163"/>
                    <a:pt x="24" y="151"/>
                  </a:cubicBezTo>
                  <a:cubicBezTo>
                    <a:pt x="18" y="154"/>
                    <a:pt x="12" y="138"/>
                    <a:pt x="11" y="132"/>
                  </a:cubicBezTo>
                  <a:cubicBezTo>
                    <a:pt x="9" y="124"/>
                    <a:pt x="3" y="111"/>
                    <a:pt x="1" y="102"/>
                  </a:cubicBezTo>
                  <a:cubicBezTo>
                    <a:pt x="0" y="96"/>
                    <a:pt x="1" y="92"/>
                    <a:pt x="3" y="91"/>
                  </a:cubicBezTo>
                  <a:cubicBezTo>
                    <a:pt x="7" y="88"/>
                    <a:pt x="10" y="90"/>
                    <a:pt x="16" y="97"/>
                  </a:cubicBezTo>
                  <a:cubicBezTo>
                    <a:pt x="16" y="91"/>
                    <a:pt x="17" y="84"/>
                    <a:pt x="17" y="77"/>
                  </a:cubicBezTo>
                  <a:cubicBezTo>
                    <a:pt x="16" y="64"/>
                    <a:pt x="16" y="53"/>
                    <a:pt x="17" y="44"/>
                  </a:cubicBezTo>
                  <a:cubicBezTo>
                    <a:pt x="19" y="34"/>
                    <a:pt x="23" y="27"/>
                    <a:pt x="30" y="20"/>
                  </a:cubicBezTo>
                  <a:cubicBezTo>
                    <a:pt x="30" y="20"/>
                    <a:pt x="30" y="20"/>
                    <a:pt x="30" y="20"/>
                  </a:cubicBezTo>
                  <a:cubicBezTo>
                    <a:pt x="30" y="20"/>
                    <a:pt x="30" y="20"/>
                    <a:pt x="30" y="20"/>
                  </a:cubicBezTo>
                  <a:cubicBezTo>
                    <a:pt x="35" y="16"/>
                    <a:pt x="39" y="13"/>
                    <a:pt x="44" y="10"/>
                  </a:cubicBezTo>
                  <a:cubicBezTo>
                    <a:pt x="45" y="10"/>
                    <a:pt x="45" y="10"/>
                    <a:pt x="45" y="10"/>
                  </a:cubicBezTo>
                  <a:cubicBezTo>
                    <a:pt x="45" y="10"/>
                    <a:pt x="45" y="10"/>
                    <a:pt x="46" y="10"/>
                  </a:cubicBezTo>
                  <a:cubicBezTo>
                    <a:pt x="46" y="10"/>
                    <a:pt x="46" y="9"/>
                    <a:pt x="46" y="9"/>
                  </a:cubicBezTo>
                  <a:cubicBezTo>
                    <a:pt x="47" y="9"/>
                    <a:pt x="47" y="9"/>
                    <a:pt x="47" y="9"/>
                  </a:cubicBezTo>
                  <a:cubicBezTo>
                    <a:pt x="47" y="9"/>
                    <a:pt x="48" y="9"/>
                    <a:pt x="48" y="9"/>
                  </a:cubicBezTo>
                  <a:cubicBezTo>
                    <a:pt x="48" y="8"/>
                    <a:pt x="48" y="8"/>
                    <a:pt x="49" y="8"/>
                  </a:cubicBezTo>
                  <a:cubicBezTo>
                    <a:pt x="49" y="8"/>
                    <a:pt x="49" y="8"/>
                    <a:pt x="50" y="8"/>
                  </a:cubicBezTo>
                  <a:cubicBezTo>
                    <a:pt x="50" y="8"/>
                    <a:pt x="50" y="8"/>
                    <a:pt x="51" y="8"/>
                  </a:cubicBezTo>
                  <a:cubicBezTo>
                    <a:pt x="51" y="7"/>
                    <a:pt x="51" y="7"/>
                    <a:pt x="51" y="7"/>
                  </a:cubicBezTo>
                  <a:cubicBezTo>
                    <a:pt x="52" y="7"/>
                    <a:pt x="52" y="7"/>
                    <a:pt x="53" y="7"/>
                  </a:cubicBezTo>
                  <a:cubicBezTo>
                    <a:pt x="53" y="7"/>
                    <a:pt x="53" y="7"/>
                    <a:pt x="53" y="7"/>
                  </a:cubicBezTo>
                  <a:cubicBezTo>
                    <a:pt x="67" y="2"/>
                    <a:pt x="82" y="0"/>
                    <a:pt x="97" y="2"/>
                  </a:cubicBezTo>
                  <a:cubicBezTo>
                    <a:pt x="112" y="5"/>
                    <a:pt x="126" y="10"/>
                    <a:pt x="137" y="20"/>
                  </a:cubicBezTo>
                  <a:cubicBezTo>
                    <a:pt x="144" y="27"/>
                    <a:pt x="148" y="34"/>
                    <a:pt x="150" y="44"/>
                  </a:cubicBezTo>
                  <a:cubicBezTo>
                    <a:pt x="151" y="53"/>
                    <a:pt x="151" y="64"/>
                    <a:pt x="150" y="77"/>
                  </a:cubicBezTo>
                  <a:cubicBezTo>
                    <a:pt x="150" y="84"/>
                    <a:pt x="151" y="91"/>
                    <a:pt x="151" y="97"/>
                  </a:cubicBezTo>
                  <a:cubicBezTo>
                    <a:pt x="157" y="90"/>
                    <a:pt x="160" y="88"/>
                    <a:pt x="164" y="91"/>
                  </a:cubicBezTo>
                  <a:cubicBezTo>
                    <a:pt x="166" y="92"/>
                    <a:pt x="166" y="96"/>
                    <a:pt x="165" y="102"/>
                  </a:cubicBezTo>
                  <a:cubicBezTo>
                    <a:pt x="164" y="111"/>
                    <a:pt x="158" y="124"/>
                    <a:pt x="156" y="132"/>
                  </a:cubicBezTo>
                  <a:cubicBezTo>
                    <a:pt x="155" y="138"/>
                    <a:pt x="149" y="154"/>
                    <a:pt x="143" y="151"/>
                  </a:cubicBezTo>
                  <a:cubicBezTo>
                    <a:pt x="142" y="162"/>
                    <a:pt x="142" y="171"/>
                    <a:pt x="139" y="179"/>
                  </a:cubicBezTo>
                  <a:cubicBezTo>
                    <a:pt x="137" y="185"/>
                    <a:pt x="125" y="191"/>
                    <a:pt x="119" y="197"/>
                  </a:cubicBezTo>
                  <a:cubicBezTo>
                    <a:pt x="112" y="205"/>
                    <a:pt x="109" y="210"/>
                    <a:pt x="104" y="212"/>
                  </a:cubicBezTo>
                  <a:cubicBezTo>
                    <a:pt x="99" y="214"/>
                    <a:pt x="94" y="215"/>
                    <a:pt x="85" y="215"/>
                  </a:cubicBezTo>
                  <a:close/>
                </a:path>
              </a:pathLst>
            </a:custGeom>
            <a:solidFill>
              <a:srgbClr val="8441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p:cNvSpPr>
              <a:spLocks/>
            </p:cNvSpPr>
            <p:nvPr/>
          </p:nvSpPr>
          <p:spPr bwMode="auto">
            <a:xfrm>
              <a:off x="3944" y="619"/>
              <a:ext cx="311" cy="281"/>
            </a:xfrm>
            <a:custGeom>
              <a:avLst/>
              <a:gdLst>
                <a:gd name="T0" fmla="*/ 40 w 176"/>
                <a:gd name="T1" fmla="*/ 78 h 159"/>
                <a:gd name="T2" fmla="*/ 25 w 176"/>
                <a:gd name="T3" fmla="*/ 159 h 159"/>
                <a:gd name="T4" fmla="*/ 35 w 176"/>
                <a:gd name="T5" fmla="*/ 34 h 159"/>
                <a:gd name="T6" fmla="*/ 140 w 176"/>
                <a:gd name="T7" fmla="*/ 35 h 159"/>
                <a:gd name="T8" fmla="*/ 152 w 176"/>
                <a:gd name="T9" fmla="*/ 151 h 159"/>
                <a:gd name="T10" fmla="*/ 135 w 176"/>
                <a:gd name="T11" fmla="*/ 79 h 159"/>
                <a:gd name="T12" fmla="*/ 118 w 176"/>
                <a:gd name="T13" fmla="*/ 92 h 159"/>
                <a:gd name="T14" fmla="*/ 40 w 176"/>
                <a:gd name="T15" fmla="*/ 78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59">
                  <a:moveTo>
                    <a:pt x="40" y="78"/>
                  </a:moveTo>
                  <a:cubicBezTo>
                    <a:pt x="35" y="83"/>
                    <a:pt x="23" y="122"/>
                    <a:pt x="25" y="159"/>
                  </a:cubicBezTo>
                  <a:cubicBezTo>
                    <a:pt x="9" y="101"/>
                    <a:pt x="0" y="60"/>
                    <a:pt x="35" y="34"/>
                  </a:cubicBezTo>
                  <a:cubicBezTo>
                    <a:pt x="80" y="0"/>
                    <a:pt x="135" y="22"/>
                    <a:pt x="140" y="35"/>
                  </a:cubicBezTo>
                  <a:cubicBezTo>
                    <a:pt x="176" y="48"/>
                    <a:pt x="162" y="105"/>
                    <a:pt x="152" y="151"/>
                  </a:cubicBezTo>
                  <a:cubicBezTo>
                    <a:pt x="151" y="128"/>
                    <a:pt x="147" y="100"/>
                    <a:pt x="135" y="79"/>
                  </a:cubicBezTo>
                  <a:cubicBezTo>
                    <a:pt x="132" y="77"/>
                    <a:pt x="120" y="92"/>
                    <a:pt x="118" y="92"/>
                  </a:cubicBezTo>
                  <a:cubicBezTo>
                    <a:pt x="91" y="90"/>
                    <a:pt x="81" y="84"/>
                    <a:pt x="40" y="7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p:cNvSpPr>
              <a:spLocks/>
            </p:cNvSpPr>
            <p:nvPr/>
          </p:nvSpPr>
          <p:spPr bwMode="auto">
            <a:xfrm>
              <a:off x="3942" y="1124"/>
              <a:ext cx="271" cy="903"/>
            </a:xfrm>
            <a:custGeom>
              <a:avLst/>
              <a:gdLst>
                <a:gd name="T0" fmla="*/ 40 w 271"/>
                <a:gd name="T1" fmla="*/ 0 h 903"/>
                <a:gd name="T2" fmla="*/ 156 w 271"/>
                <a:gd name="T3" fmla="*/ 14 h 903"/>
                <a:gd name="T4" fmla="*/ 271 w 271"/>
                <a:gd name="T5" fmla="*/ 0 h 903"/>
                <a:gd name="T6" fmla="*/ 260 w 271"/>
                <a:gd name="T7" fmla="*/ 903 h 903"/>
                <a:gd name="T8" fmla="*/ 53 w 271"/>
                <a:gd name="T9" fmla="*/ 903 h 903"/>
                <a:gd name="T10" fmla="*/ 0 w 271"/>
                <a:gd name="T11" fmla="*/ 159 h 903"/>
                <a:gd name="T12" fmla="*/ 40 w 271"/>
                <a:gd name="T13" fmla="*/ 0 h 903"/>
              </a:gdLst>
              <a:ahLst/>
              <a:cxnLst>
                <a:cxn ang="0">
                  <a:pos x="T0" y="T1"/>
                </a:cxn>
                <a:cxn ang="0">
                  <a:pos x="T2" y="T3"/>
                </a:cxn>
                <a:cxn ang="0">
                  <a:pos x="T4" y="T5"/>
                </a:cxn>
                <a:cxn ang="0">
                  <a:pos x="T6" y="T7"/>
                </a:cxn>
                <a:cxn ang="0">
                  <a:pos x="T8" y="T9"/>
                </a:cxn>
                <a:cxn ang="0">
                  <a:pos x="T10" y="T11"/>
                </a:cxn>
                <a:cxn ang="0">
                  <a:pos x="T12" y="T13"/>
                </a:cxn>
              </a:cxnLst>
              <a:rect l="0" t="0" r="r" b="b"/>
              <a:pathLst>
                <a:path w="271" h="903">
                  <a:moveTo>
                    <a:pt x="40" y="0"/>
                  </a:moveTo>
                  <a:lnTo>
                    <a:pt x="156" y="14"/>
                  </a:lnTo>
                  <a:lnTo>
                    <a:pt x="271" y="0"/>
                  </a:lnTo>
                  <a:lnTo>
                    <a:pt x="260" y="903"/>
                  </a:lnTo>
                  <a:lnTo>
                    <a:pt x="53" y="903"/>
                  </a:lnTo>
                  <a:lnTo>
                    <a:pt x="0" y="159"/>
                  </a:lnTo>
                  <a:lnTo>
                    <a:pt x="40" y="0"/>
                  </a:lnTo>
                  <a:close/>
                </a:path>
              </a:pathLst>
            </a:custGeom>
            <a:solidFill>
              <a:srgbClr val="BFD8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52"/>
            <p:cNvSpPr>
              <a:spLocks/>
            </p:cNvSpPr>
            <p:nvPr/>
          </p:nvSpPr>
          <p:spPr bwMode="auto">
            <a:xfrm>
              <a:off x="3742" y="1126"/>
              <a:ext cx="325" cy="1102"/>
            </a:xfrm>
            <a:custGeom>
              <a:avLst/>
              <a:gdLst>
                <a:gd name="T0" fmla="*/ 14 w 184"/>
                <a:gd name="T1" fmla="*/ 57 h 624"/>
                <a:gd name="T2" fmla="*/ 13 w 184"/>
                <a:gd name="T3" fmla="*/ 87 h 624"/>
                <a:gd name="T4" fmla="*/ 61 w 184"/>
                <a:gd name="T5" fmla="*/ 362 h 624"/>
                <a:gd name="T6" fmla="*/ 44 w 184"/>
                <a:gd name="T7" fmla="*/ 623 h 624"/>
                <a:gd name="T8" fmla="*/ 176 w 184"/>
                <a:gd name="T9" fmla="*/ 624 h 624"/>
                <a:gd name="T10" fmla="*/ 184 w 184"/>
                <a:gd name="T11" fmla="*/ 384 h 624"/>
                <a:gd name="T12" fmla="*/ 182 w 184"/>
                <a:gd name="T13" fmla="*/ 347 h 624"/>
                <a:gd name="T14" fmla="*/ 136 w 184"/>
                <a:gd name="T15" fmla="*/ 0 h 624"/>
                <a:gd name="T16" fmla="*/ 14 w 184"/>
                <a:gd name="T17" fmla="*/ 57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624">
                  <a:moveTo>
                    <a:pt x="14" y="57"/>
                  </a:moveTo>
                  <a:cubicBezTo>
                    <a:pt x="0" y="63"/>
                    <a:pt x="9" y="74"/>
                    <a:pt x="13" y="87"/>
                  </a:cubicBezTo>
                  <a:cubicBezTo>
                    <a:pt x="42" y="211"/>
                    <a:pt x="55" y="287"/>
                    <a:pt x="61" y="362"/>
                  </a:cubicBezTo>
                  <a:cubicBezTo>
                    <a:pt x="66" y="432"/>
                    <a:pt x="57" y="502"/>
                    <a:pt x="44" y="623"/>
                  </a:cubicBezTo>
                  <a:cubicBezTo>
                    <a:pt x="176" y="624"/>
                    <a:pt x="176" y="624"/>
                    <a:pt x="176" y="624"/>
                  </a:cubicBezTo>
                  <a:cubicBezTo>
                    <a:pt x="184" y="384"/>
                    <a:pt x="184" y="384"/>
                    <a:pt x="184" y="384"/>
                  </a:cubicBezTo>
                  <a:cubicBezTo>
                    <a:pt x="184" y="372"/>
                    <a:pt x="183" y="360"/>
                    <a:pt x="182" y="347"/>
                  </a:cubicBezTo>
                  <a:cubicBezTo>
                    <a:pt x="136" y="0"/>
                    <a:pt x="136" y="0"/>
                    <a:pt x="136" y="0"/>
                  </a:cubicBezTo>
                  <a:cubicBezTo>
                    <a:pt x="109" y="25"/>
                    <a:pt x="88" y="28"/>
                    <a:pt x="14" y="57"/>
                  </a:cubicBezTo>
                  <a:close/>
                </a:path>
              </a:pathLst>
            </a:custGeom>
            <a:solidFill>
              <a:srgbClr val="4451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3"/>
            <p:cNvSpPr>
              <a:spLocks/>
            </p:cNvSpPr>
            <p:nvPr/>
          </p:nvSpPr>
          <p:spPr bwMode="auto">
            <a:xfrm>
              <a:off x="4126" y="1126"/>
              <a:ext cx="341" cy="1095"/>
            </a:xfrm>
            <a:custGeom>
              <a:avLst/>
              <a:gdLst>
                <a:gd name="T0" fmla="*/ 179 w 193"/>
                <a:gd name="T1" fmla="*/ 59 h 620"/>
                <a:gd name="T2" fmla="*/ 180 w 193"/>
                <a:gd name="T3" fmla="*/ 90 h 620"/>
                <a:gd name="T4" fmla="*/ 131 w 193"/>
                <a:gd name="T5" fmla="*/ 356 h 620"/>
                <a:gd name="T6" fmla="*/ 142 w 193"/>
                <a:gd name="T7" fmla="*/ 620 h 620"/>
                <a:gd name="T8" fmla="*/ 5 w 193"/>
                <a:gd name="T9" fmla="*/ 620 h 620"/>
                <a:gd name="T10" fmla="*/ 0 w 193"/>
                <a:gd name="T11" fmla="*/ 384 h 620"/>
                <a:gd name="T12" fmla="*/ 2 w 193"/>
                <a:gd name="T13" fmla="*/ 347 h 620"/>
                <a:gd name="T14" fmla="*/ 48 w 193"/>
                <a:gd name="T15" fmla="*/ 0 h 620"/>
                <a:gd name="T16" fmla="*/ 179 w 193"/>
                <a:gd name="T17" fmla="*/ 59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620">
                  <a:moveTo>
                    <a:pt x="179" y="59"/>
                  </a:moveTo>
                  <a:cubicBezTo>
                    <a:pt x="193" y="65"/>
                    <a:pt x="183" y="76"/>
                    <a:pt x="180" y="90"/>
                  </a:cubicBezTo>
                  <a:cubicBezTo>
                    <a:pt x="166" y="162"/>
                    <a:pt x="135" y="274"/>
                    <a:pt x="131" y="356"/>
                  </a:cubicBezTo>
                  <a:cubicBezTo>
                    <a:pt x="127" y="432"/>
                    <a:pt x="138" y="543"/>
                    <a:pt x="142" y="620"/>
                  </a:cubicBezTo>
                  <a:cubicBezTo>
                    <a:pt x="5" y="620"/>
                    <a:pt x="5" y="620"/>
                    <a:pt x="5" y="620"/>
                  </a:cubicBezTo>
                  <a:cubicBezTo>
                    <a:pt x="0" y="384"/>
                    <a:pt x="0" y="384"/>
                    <a:pt x="0" y="384"/>
                  </a:cubicBezTo>
                  <a:cubicBezTo>
                    <a:pt x="0" y="372"/>
                    <a:pt x="1" y="360"/>
                    <a:pt x="2" y="347"/>
                  </a:cubicBezTo>
                  <a:cubicBezTo>
                    <a:pt x="48" y="0"/>
                    <a:pt x="48" y="0"/>
                    <a:pt x="48" y="0"/>
                  </a:cubicBezTo>
                  <a:cubicBezTo>
                    <a:pt x="75" y="25"/>
                    <a:pt x="105" y="30"/>
                    <a:pt x="179" y="59"/>
                  </a:cubicBez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4"/>
            <p:cNvSpPr>
              <a:spLocks/>
            </p:cNvSpPr>
            <p:nvPr/>
          </p:nvSpPr>
          <p:spPr bwMode="auto">
            <a:xfrm>
              <a:off x="4324" y="1226"/>
              <a:ext cx="195" cy="859"/>
            </a:xfrm>
            <a:custGeom>
              <a:avLst/>
              <a:gdLst>
                <a:gd name="T0" fmla="*/ 72 w 110"/>
                <a:gd name="T1" fmla="*/ 4 h 486"/>
                <a:gd name="T2" fmla="*/ 88 w 110"/>
                <a:gd name="T3" fmla="*/ 57 h 486"/>
                <a:gd name="T4" fmla="*/ 107 w 110"/>
                <a:gd name="T5" fmla="*/ 276 h 486"/>
                <a:gd name="T6" fmla="*/ 103 w 110"/>
                <a:gd name="T7" fmla="*/ 343 h 486"/>
                <a:gd name="T8" fmla="*/ 69 w 110"/>
                <a:gd name="T9" fmla="*/ 486 h 486"/>
                <a:gd name="T10" fmla="*/ 19 w 110"/>
                <a:gd name="T11" fmla="*/ 450 h 486"/>
                <a:gd name="T12" fmla="*/ 35 w 110"/>
                <a:gd name="T13" fmla="*/ 332 h 486"/>
                <a:gd name="T14" fmla="*/ 26 w 110"/>
                <a:gd name="T15" fmla="*/ 271 h 486"/>
                <a:gd name="T16" fmla="*/ 0 w 110"/>
                <a:gd name="T17" fmla="*/ 149 h 486"/>
                <a:gd name="T18" fmla="*/ 72 w 110"/>
                <a:gd name="T19" fmla="*/ 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486">
                  <a:moveTo>
                    <a:pt x="72" y="4"/>
                  </a:moveTo>
                  <a:cubicBezTo>
                    <a:pt x="82" y="5"/>
                    <a:pt x="87" y="40"/>
                    <a:pt x="88" y="57"/>
                  </a:cubicBezTo>
                  <a:cubicBezTo>
                    <a:pt x="107" y="276"/>
                    <a:pt x="107" y="276"/>
                    <a:pt x="107" y="276"/>
                  </a:cubicBezTo>
                  <a:cubicBezTo>
                    <a:pt x="110" y="303"/>
                    <a:pt x="110" y="303"/>
                    <a:pt x="103" y="343"/>
                  </a:cubicBezTo>
                  <a:cubicBezTo>
                    <a:pt x="69" y="486"/>
                    <a:pt x="69" y="486"/>
                    <a:pt x="69" y="486"/>
                  </a:cubicBezTo>
                  <a:cubicBezTo>
                    <a:pt x="71" y="456"/>
                    <a:pt x="43" y="446"/>
                    <a:pt x="19" y="450"/>
                  </a:cubicBezTo>
                  <a:cubicBezTo>
                    <a:pt x="35" y="332"/>
                    <a:pt x="35" y="332"/>
                    <a:pt x="35" y="332"/>
                  </a:cubicBezTo>
                  <a:cubicBezTo>
                    <a:pt x="41" y="307"/>
                    <a:pt x="31" y="296"/>
                    <a:pt x="26" y="271"/>
                  </a:cubicBezTo>
                  <a:cubicBezTo>
                    <a:pt x="0" y="149"/>
                    <a:pt x="0" y="149"/>
                    <a:pt x="0" y="149"/>
                  </a:cubicBezTo>
                  <a:cubicBezTo>
                    <a:pt x="10" y="119"/>
                    <a:pt x="37" y="0"/>
                    <a:pt x="72" y="4"/>
                  </a:cubicBezTo>
                  <a:close/>
                </a:path>
              </a:pathLst>
            </a:custGeom>
            <a:solidFill>
              <a:srgbClr val="2934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6582644"/>
      </p:ext>
    </p:extLst>
  </p:cSld>
  <p:clrMapOvr>
    <a:masterClrMapping/>
  </p:clrMapOvr>
  <p:transition spd="med">
    <p:pull/>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77789" y="1589"/>
          <a:ext cx="1587" cy="1587"/>
        </p:xfrm>
        <a:graphic>
          <a:graphicData uri="http://schemas.openxmlformats.org/presentationml/2006/ole">
            <mc:AlternateContent xmlns:mc="http://schemas.openxmlformats.org/markup-compatibility/2006">
              <mc:Choice xmlns:v="urn:schemas-microsoft-com:vml" Requires="v">
                <p:oleObj spid="_x0000_s1333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77789" y="1589"/>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lang="de-DE" dirty="0" smtClean="0"/>
              <a:t>Bewerbung</a:t>
            </a:r>
            <a:endParaRPr lang="de-DE" dirty="0"/>
          </a:p>
        </p:txBody>
      </p:sp>
      <p:sp>
        <p:nvSpPr>
          <p:cNvPr id="2" name="Textplatzhalter 1"/>
          <p:cNvSpPr>
            <a:spLocks noGrp="1"/>
          </p:cNvSpPr>
          <p:nvPr>
            <p:ph type="body" sz="quarter" idx="11"/>
          </p:nvPr>
        </p:nvSpPr>
        <p:spPr/>
        <p:txBody>
          <a:bodyPr/>
          <a:lstStyle/>
          <a:p>
            <a:r>
              <a:rPr lang="de-DE" dirty="0" smtClean="0"/>
              <a:t>KICC 2017</a:t>
            </a:r>
            <a:endParaRPr lang="de-DE" dirty="0"/>
          </a:p>
        </p:txBody>
      </p:sp>
      <p:grpSp>
        <p:nvGrpSpPr>
          <p:cNvPr id="4" name="Gruppieren 3"/>
          <p:cNvGrpSpPr/>
          <p:nvPr/>
        </p:nvGrpSpPr>
        <p:grpSpPr>
          <a:xfrm>
            <a:off x="906461" y="1431704"/>
            <a:ext cx="1808970" cy="3431609"/>
            <a:chOff x="825499" y="1344613"/>
            <a:chExt cx="1808970" cy="4618037"/>
          </a:xfrm>
        </p:grpSpPr>
        <p:grpSp>
          <p:nvGrpSpPr>
            <p:cNvPr id="29" name="Gruppieren 28"/>
            <p:cNvGrpSpPr/>
            <p:nvPr/>
          </p:nvGrpSpPr>
          <p:grpSpPr>
            <a:xfrm>
              <a:off x="825499" y="4373611"/>
              <a:ext cx="1808970" cy="1589039"/>
              <a:chOff x="823913" y="4408001"/>
              <a:chExt cx="1808970" cy="1607081"/>
            </a:xfrm>
          </p:grpSpPr>
          <p:sp>
            <p:nvSpPr>
              <p:cNvPr id="35" name="Rectangle 42"/>
              <p:cNvSpPr>
                <a:spLocks noChangeArrowheads="1"/>
              </p:cNvSpPr>
              <p:nvPr/>
            </p:nvSpPr>
            <p:spPr bwMode="gray">
              <a:xfrm>
                <a:off x="823913" y="4540093"/>
                <a:ext cx="1808970" cy="1474989"/>
              </a:xfrm>
              <a:prstGeom prst="rect">
                <a:avLst/>
              </a:prstGeom>
              <a:solidFill>
                <a:srgbClr val="0091DA"/>
              </a:solidFill>
              <a:ln w="12700" algn="ctr">
                <a:solidFill>
                  <a:srgbClr val="0091DA"/>
                </a:solidFill>
                <a:miter lim="800000"/>
                <a:headEnd/>
                <a:tailEnd/>
              </a:ln>
            </p:spPr>
            <p:txBody>
              <a:bodyPr anchor="ctr" anchorCtr="0"/>
              <a:lstStyle/>
              <a:p>
                <a:pPr algn="ctr"/>
                <a:r>
                  <a:rPr lang="de-DE" sz="1100" b="1" dirty="0">
                    <a:solidFill>
                      <a:schemeClr val="bg1"/>
                    </a:solidFill>
                    <a:latin typeface="Arial" panose="020B0604020202020204" pitchFamily="34" charset="0"/>
                    <a:cs typeface="Arial" panose="020B0604020202020204" pitchFamily="34" charset="0"/>
                  </a:rPr>
                  <a:t>CVs der einzelnen </a:t>
                </a:r>
                <a:r>
                  <a:rPr lang="de-DE" sz="1100" b="1" dirty="0" smtClean="0">
                    <a:solidFill>
                      <a:schemeClr val="bg1"/>
                    </a:solidFill>
                    <a:latin typeface="Arial" panose="020B0604020202020204" pitchFamily="34" charset="0"/>
                    <a:cs typeface="Arial" panose="020B0604020202020204" pitchFamily="34" charset="0"/>
                  </a:rPr>
                  <a:t>Teammitglieder</a:t>
                </a:r>
                <a:endParaRPr lang="de-DE" sz="1100" b="1" dirty="0">
                  <a:solidFill>
                    <a:schemeClr val="bg1"/>
                  </a:solidFill>
                  <a:latin typeface="Arial" panose="020B0604020202020204" pitchFamily="34" charset="0"/>
                  <a:cs typeface="Arial" panose="020B0604020202020204" pitchFamily="34" charset="0"/>
                </a:endParaRPr>
              </a:p>
            </p:txBody>
          </p:sp>
          <p:sp>
            <p:nvSpPr>
              <p:cNvPr id="31" name="Freeform 6"/>
              <p:cNvSpPr>
                <a:spLocks/>
              </p:cNvSpPr>
              <p:nvPr/>
            </p:nvSpPr>
            <p:spPr bwMode="gray">
              <a:xfrm rot="5400000">
                <a:off x="1525026" y="4370767"/>
                <a:ext cx="389249" cy="463717"/>
              </a:xfrm>
              <a:custGeom>
                <a:avLst/>
                <a:gdLst>
                  <a:gd name="T0" fmla="*/ 695 w 5411"/>
                  <a:gd name="T1" fmla="*/ 126 h 1958"/>
                  <a:gd name="T2" fmla="*/ 557 w 5411"/>
                  <a:gd name="T3" fmla="*/ 0 h 1958"/>
                  <a:gd name="T4" fmla="*/ 0 w 5411"/>
                  <a:gd name="T5" fmla="*/ 0 h 1958"/>
                  <a:gd name="T6" fmla="*/ 0 w 5411"/>
                  <a:gd name="T7" fmla="*/ 252 h 1958"/>
                  <a:gd name="T8" fmla="*/ 557 w 5411"/>
                  <a:gd name="T9" fmla="*/ 252 h 1958"/>
                  <a:gd name="T10" fmla="*/ 557 w 5411"/>
                  <a:gd name="T11" fmla="*/ 252 h 1958"/>
                  <a:gd name="T12" fmla="*/ 695 w 5411"/>
                  <a:gd name="T13" fmla="*/ 126 h 1958"/>
                  <a:gd name="T14" fmla="*/ 0 60000 65536"/>
                  <a:gd name="T15" fmla="*/ 0 60000 65536"/>
                  <a:gd name="T16" fmla="*/ 0 60000 65536"/>
                  <a:gd name="T17" fmla="*/ 0 60000 65536"/>
                  <a:gd name="T18" fmla="*/ 0 60000 65536"/>
                  <a:gd name="T19" fmla="*/ 0 60000 65536"/>
                  <a:gd name="T20" fmla="*/ 0 60000 65536"/>
                  <a:gd name="T21" fmla="*/ 0 w 5411"/>
                  <a:gd name="T22" fmla="*/ 0 h 1958"/>
                  <a:gd name="T23" fmla="*/ 5411 w 5411"/>
                  <a:gd name="T24" fmla="*/ 1958 h 1958"/>
                  <a:gd name="connsiteX0" fmla="*/ 10000 w 10000"/>
                  <a:gd name="connsiteY0" fmla="*/ 4995 h 10000"/>
                  <a:gd name="connsiteX1" fmla="*/ 7487 w 10000"/>
                  <a:gd name="connsiteY1" fmla="*/ 0 h 10000"/>
                  <a:gd name="connsiteX2" fmla="*/ 0 w 10000"/>
                  <a:gd name="connsiteY2" fmla="*/ 0 h 10000"/>
                  <a:gd name="connsiteX3" fmla="*/ 0 w 10000"/>
                  <a:gd name="connsiteY3" fmla="*/ 10000 h 10000"/>
                  <a:gd name="connsiteX4" fmla="*/ 8010 w 10000"/>
                  <a:gd name="connsiteY4" fmla="*/ 10000 h 10000"/>
                  <a:gd name="connsiteX5" fmla="*/ 10000 w 10000"/>
                  <a:gd name="connsiteY5" fmla="*/ 4995 h 10000"/>
                  <a:gd name="connsiteX0" fmla="*/ 10000 w 10000"/>
                  <a:gd name="connsiteY0" fmla="*/ 4995 h 10000"/>
                  <a:gd name="connsiteX1" fmla="*/ 7487 w 10000"/>
                  <a:gd name="connsiteY1" fmla="*/ 0 h 10000"/>
                  <a:gd name="connsiteX2" fmla="*/ 0 w 10000"/>
                  <a:gd name="connsiteY2" fmla="*/ 0 h 10000"/>
                  <a:gd name="connsiteX3" fmla="*/ 0 w 10000"/>
                  <a:gd name="connsiteY3" fmla="*/ 10000 h 10000"/>
                  <a:gd name="connsiteX4" fmla="*/ 7618 w 10000"/>
                  <a:gd name="connsiteY4" fmla="*/ 10000 h 10000"/>
                  <a:gd name="connsiteX5" fmla="*/ 10000 w 10000"/>
                  <a:gd name="connsiteY5" fmla="*/ 4995 h 10000"/>
                  <a:gd name="connsiteX0" fmla="*/ 10000 w 10000"/>
                  <a:gd name="connsiteY0" fmla="*/ 4995 h 10000"/>
                  <a:gd name="connsiteX1" fmla="*/ 7487 w 10000"/>
                  <a:gd name="connsiteY1" fmla="*/ 0 h 10000"/>
                  <a:gd name="connsiteX2" fmla="*/ 0 w 10000"/>
                  <a:gd name="connsiteY2" fmla="*/ 0 h 10000"/>
                  <a:gd name="connsiteX3" fmla="*/ 0 w 10000"/>
                  <a:gd name="connsiteY3" fmla="*/ 10000 h 10000"/>
                  <a:gd name="connsiteX4" fmla="*/ 7553 w 10000"/>
                  <a:gd name="connsiteY4" fmla="*/ 10000 h 10000"/>
                  <a:gd name="connsiteX5" fmla="*/ 10000 w 10000"/>
                  <a:gd name="connsiteY5" fmla="*/ 4995 h 10000"/>
                  <a:gd name="connsiteX0" fmla="*/ 10000 w 10000"/>
                  <a:gd name="connsiteY0" fmla="*/ 4995 h 10000"/>
                  <a:gd name="connsiteX1" fmla="*/ 7487 w 10000"/>
                  <a:gd name="connsiteY1" fmla="*/ 0 h 10000"/>
                  <a:gd name="connsiteX2" fmla="*/ 0 w 10000"/>
                  <a:gd name="connsiteY2" fmla="*/ 0 h 10000"/>
                  <a:gd name="connsiteX3" fmla="*/ 0 w 10000"/>
                  <a:gd name="connsiteY3" fmla="*/ 10000 h 10000"/>
                  <a:gd name="connsiteX4" fmla="*/ 7488 w 10000"/>
                  <a:gd name="connsiteY4" fmla="*/ 10000 h 10000"/>
                  <a:gd name="connsiteX5" fmla="*/ 10000 w 10000"/>
                  <a:gd name="connsiteY5" fmla="*/ 499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10000" y="4995"/>
                    </a:moveTo>
                    <a:lnTo>
                      <a:pt x="7487" y="0"/>
                    </a:lnTo>
                    <a:lnTo>
                      <a:pt x="0" y="0"/>
                    </a:lnTo>
                    <a:lnTo>
                      <a:pt x="0" y="10000"/>
                    </a:lnTo>
                    <a:lnTo>
                      <a:pt x="7488" y="10000"/>
                    </a:lnTo>
                    <a:lnTo>
                      <a:pt x="10000" y="4995"/>
                    </a:lnTo>
                    <a:close/>
                  </a:path>
                </a:pathLst>
              </a:custGeom>
              <a:solidFill>
                <a:srgbClr val="005EB8"/>
              </a:solidFill>
              <a:ln w="19050">
                <a:solidFill>
                  <a:schemeClr val="bg1"/>
                </a:solidFill>
                <a:round/>
                <a:headEnd/>
                <a:tailEnd/>
              </a:ln>
            </p:spPr>
            <p:txBody>
              <a:bodyPr/>
              <a:lstStyle/>
              <a:p>
                <a:pPr>
                  <a:defRPr/>
                </a:pPr>
                <a:endParaRPr lang="de-DE"/>
              </a:p>
            </p:txBody>
          </p:sp>
        </p:grpSp>
        <p:sp>
          <p:nvSpPr>
            <p:cNvPr id="15" name="Rectangle 42"/>
            <p:cNvSpPr>
              <a:spLocks noChangeArrowheads="1"/>
            </p:cNvSpPr>
            <p:nvPr/>
          </p:nvSpPr>
          <p:spPr bwMode="gray">
            <a:xfrm>
              <a:off x="825499" y="2924416"/>
              <a:ext cx="1808970" cy="1458430"/>
            </a:xfrm>
            <a:prstGeom prst="rect">
              <a:avLst/>
            </a:prstGeom>
            <a:solidFill>
              <a:srgbClr val="005EB8"/>
            </a:solidFill>
            <a:ln w="12700" algn="ctr">
              <a:solidFill>
                <a:srgbClr val="005EB8"/>
              </a:solidFill>
              <a:miter lim="800000"/>
              <a:headEnd/>
              <a:tailEnd/>
            </a:ln>
          </p:spPr>
          <p:txBody>
            <a:bodyPr anchor="ctr" anchorCtr="0"/>
            <a:lstStyle/>
            <a:p>
              <a:pPr algn="ctr"/>
              <a:endParaRPr lang="de-DE" sz="1000" b="1" dirty="0" smtClean="0">
                <a:solidFill>
                  <a:schemeClr val="bg1"/>
                </a:solidFill>
                <a:latin typeface="Arial" panose="020B0604020202020204" pitchFamily="34" charset="0"/>
                <a:cs typeface="Arial" panose="020B0604020202020204" pitchFamily="34" charset="0"/>
              </a:endParaRPr>
            </a:p>
            <a:p>
              <a:pPr algn="ctr"/>
              <a:r>
                <a:rPr lang="de-DE" sz="1100" b="1" dirty="0" smtClean="0">
                  <a:solidFill>
                    <a:schemeClr val="bg1"/>
                  </a:solidFill>
                  <a:latin typeface="Arial" panose="020B0604020202020204" pitchFamily="34" charset="0"/>
                  <a:cs typeface="Arial" panose="020B0604020202020204" pitchFamily="34" charset="0"/>
                </a:rPr>
                <a:t>Kurzes Teammotivations-schreiben</a:t>
              </a:r>
              <a:endParaRPr lang="de-DE" sz="1100" b="1" dirty="0">
                <a:solidFill>
                  <a:schemeClr val="bg1"/>
                </a:solidFill>
                <a:latin typeface="Arial" panose="020B0604020202020204" pitchFamily="34" charset="0"/>
                <a:cs typeface="Arial" panose="020B0604020202020204" pitchFamily="34" charset="0"/>
              </a:endParaRPr>
            </a:p>
          </p:txBody>
        </p:sp>
        <p:sp>
          <p:nvSpPr>
            <p:cNvPr id="16" name="Freeform 6"/>
            <p:cNvSpPr>
              <a:spLocks/>
            </p:cNvSpPr>
            <p:nvPr/>
          </p:nvSpPr>
          <p:spPr bwMode="gray">
            <a:xfrm rot="5400000">
              <a:off x="1528797" y="2754388"/>
              <a:ext cx="384879" cy="463717"/>
            </a:xfrm>
            <a:custGeom>
              <a:avLst/>
              <a:gdLst>
                <a:gd name="T0" fmla="*/ 695 w 5411"/>
                <a:gd name="T1" fmla="*/ 126 h 1958"/>
                <a:gd name="T2" fmla="*/ 557 w 5411"/>
                <a:gd name="T3" fmla="*/ 0 h 1958"/>
                <a:gd name="T4" fmla="*/ 0 w 5411"/>
                <a:gd name="T5" fmla="*/ 0 h 1958"/>
                <a:gd name="T6" fmla="*/ 0 w 5411"/>
                <a:gd name="T7" fmla="*/ 252 h 1958"/>
                <a:gd name="T8" fmla="*/ 557 w 5411"/>
                <a:gd name="T9" fmla="*/ 252 h 1958"/>
                <a:gd name="T10" fmla="*/ 557 w 5411"/>
                <a:gd name="T11" fmla="*/ 252 h 1958"/>
                <a:gd name="T12" fmla="*/ 695 w 5411"/>
                <a:gd name="T13" fmla="*/ 126 h 1958"/>
                <a:gd name="T14" fmla="*/ 0 60000 65536"/>
                <a:gd name="T15" fmla="*/ 0 60000 65536"/>
                <a:gd name="T16" fmla="*/ 0 60000 65536"/>
                <a:gd name="T17" fmla="*/ 0 60000 65536"/>
                <a:gd name="T18" fmla="*/ 0 60000 65536"/>
                <a:gd name="T19" fmla="*/ 0 60000 65536"/>
                <a:gd name="T20" fmla="*/ 0 60000 65536"/>
                <a:gd name="T21" fmla="*/ 0 w 5411"/>
                <a:gd name="T22" fmla="*/ 0 h 1958"/>
                <a:gd name="T23" fmla="*/ 5411 w 5411"/>
                <a:gd name="T24" fmla="*/ 1958 h 1958"/>
                <a:gd name="connsiteX0" fmla="*/ 10000 w 10000"/>
                <a:gd name="connsiteY0" fmla="*/ 4995 h 10000"/>
                <a:gd name="connsiteX1" fmla="*/ 7487 w 10000"/>
                <a:gd name="connsiteY1" fmla="*/ 0 h 10000"/>
                <a:gd name="connsiteX2" fmla="*/ 0 w 10000"/>
                <a:gd name="connsiteY2" fmla="*/ 0 h 10000"/>
                <a:gd name="connsiteX3" fmla="*/ 0 w 10000"/>
                <a:gd name="connsiteY3" fmla="*/ 10000 h 10000"/>
                <a:gd name="connsiteX4" fmla="*/ 8010 w 10000"/>
                <a:gd name="connsiteY4" fmla="*/ 10000 h 10000"/>
                <a:gd name="connsiteX5" fmla="*/ 10000 w 10000"/>
                <a:gd name="connsiteY5" fmla="*/ 4995 h 10000"/>
                <a:gd name="connsiteX0" fmla="*/ 10000 w 10000"/>
                <a:gd name="connsiteY0" fmla="*/ 4995 h 10000"/>
                <a:gd name="connsiteX1" fmla="*/ 7487 w 10000"/>
                <a:gd name="connsiteY1" fmla="*/ 0 h 10000"/>
                <a:gd name="connsiteX2" fmla="*/ 0 w 10000"/>
                <a:gd name="connsiteY2" fmla="*/ 0 h 10000"/>
                <a:gd name="connsiteX3" fmla="*/ 0 w 10000"/>
                <a:gd name="connsiteY3" fmla="*/ 10000 h 10000"/>
                <a:gd name="connsiteX4" fmla="*/ 7618 w 10000"/>
                <a:gd name="connsiteY4" fmla="*/ 10000 h 10000"/>
                <a:gd name="connsiteX5" fmla="*/ 10000 w 10000"/>
                <a:gd name="connsiteY5" fmla="*/ 4995 h 10000"/>
                <a:gd name="connsiteX0" fmla="*/ 10000 w 10000"/>
                <a:gd name="connsiteY0" fmla="*/ 4995 h 10000"/>
                <a:gd name="connsiteX1" fmla="*/ 7487 w 10000"/>
                <a:gd name="connsiteY1" fmla="*/ 0 h 10000"/>
                <a:gd name="connsiteX2" fmla="*/ 0 w 10000"/>
                <a:gd name="connsiteY2" fmla="*/ 0 h 10000"/>
                <a:gd name="connsiteX3" fmla="*/ 0 w 10000"/>
                <a:gd name="connsiteY3" fmla="*/ 10000 h 10000"/>
                <a:gd name="connsiteX4" fmla="*/ 7553 w 10000"/>
                <a:gd name="connsiteY4" fmla="*/ 10000 h 10000"/>
                <a:gd name="connsiteX5" fmla="*/ 10000 w 10000"/>
                <a:gd name="connsiteY5" fmla="*/ 4995 h 10000"/>
                <a:gd name="connsiteX0" fmla="*/ 10000 w 10000"/>
                <a:gd name="connsiteY0" fmla="*/ 4995 h 10000"/>
                <a:gd name="connsiteX1" fmla="*/ 7487 w 10000"/>
                <a:gd name="connsiteY1" fmla="*/ 0 h 10000"/>
                <a:gd name="connsiteX2" fmla="*/ 0 w 10000"/>
                <a:gd name="connsiteY2" fmla="*/ 0 h 10000"/>
                <a:gd name="connsiteX3" fmla="*/ 0 w 10000"/>
                <a:gd name="connsiteY3" fmla="*/ 10000 h 10000"/>
                <a:gd name="connsiteX4" fmla="*/ 7488 w 10000"/>
                <a:gd name="connsiteY4" fmla="*/ 10000 h 10000"/>
                <a:gd name="connsiteX5" fmla="*/ 10000 w 10000"/>
                <a:gd name="connsiteY5" fmla="*/ 499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10000" y="4995"/>
                  </a:moveTo>
                  <a:lnTo>
                    <a:pt x="7487" y="0"/>
                  </a:lnTo>
                  <a:lnTo>
                    <a:pt x="0" y="0"/>
                  </a:lnTo>
                  <a:lnTo>
                    <a:pt x="0" y="10000"/>
                  </a:lnTo>
                  <a:lnTo>
                    <a:pt x="7488" y="10000"/>
                  </a:lnTo>
                  <a:lnTo>
                    <a:pt x="10000" y="4995"/>
                  </a:lnTo>
                  <a:close/>
                </a:path>
              </a:pathLst>
            </a:custGeom>
            <a:solidFill>
              <a:srgbClr val="003397"/>
            </a:solidFill>
            <a:ln w="19050">
              <a:solidFill>
                <a:schemeClr val="bg1"/>
              </a:solidFill>
              <a:round/>
              <a:headEnd/>
              <a:tailEnd/>
            </a:ln>
          </p:spPr>
          <p:txBody>
            <a:bodyPr/>
            <a:lstStyle/>
            <a:p>
              <a:pPr>
                <a:defRPr/>
              </a:pPr>
              <a:endParaRPr lang="de-DE"/>
            </a:p>
          </p:txBody>
        </p:sp>
        <p:sp>
          <p:nvSpPr>
            <p:cNvPr id="17" name="Rectangle 42"/>
            <p:cNvSpPr>
              <a:spLocks noChangeArrowheads="1"/>
            </p:cNvSpPr>
            <p:nvPr/>
          </p:nvSpPr>
          <p:spPr bwMode="gray">
            <a:xfrm>
              <a:off x="825499" y="1344613"/>
              <a:ext cx="1808970" cy="1458430"/>
            </a:xfrm>
            <a:prstGeom prst="rect">
              <a:avLst/>
            </a:prstGeom>
            <a:solidFill>
              <a:srgbClr val="003397"/>
            </a:solidFill>
            <a:ln w="12700" algn="ctr">
              <a:solidFill>
                <a:srgbClr val="003397"/>
              </a:solidFill>
              <a:miter lim="800000"/>
              <a:headEnd/>
              <a:tailEnd/>
            </a:ln>
          </p:spPr>
          <p:txBody>
            <a:bodyPr anchor="ctr" anchorCtr="0"/>
            <a:lstStyle/>
            <a:p>
              <a:pPr algn="ctr"/>
              <a:r>
                <a:rPr lang="de-DE" sz="1100" b="1" dirty="0">
                  <a:solidFill>
                    <a:schemeClr val="bg1"/>
                  </a:solidFill>
                  <a:latin typeface="Arial" panose="020B0604020202020204" pitchFamily="34" charset="0"/>
                  <a:cs typeface="Arial" panose="020B0604020202020204" pitchFamily="34" charset="0"/>
                </a:rPr>
                <a:t>Ausgefülltes</a:t>
              </a:r>
            </a:p>
            <a:p>
              <a:pPr algn="ctr"/>
              <a:r>
                <a:rPr lang="de-DE" sz="1100" b="1" dirty="0">
                  <a:solidFill>
                    <a:schemeClr val="bg1"/>
                  </a:solidFill>
                  <a:latin typeface="Arial" panose="020B0604020202020204" pitchFamily="34" charset="0"/>
                  <a:cs typeface="Arial" panose="020B0604020202020204" pitchFamily="34" charset="0"/>
                </a:rPr>
                <a:t>Bewerbungsformular</a:t>
              </a:r>
            </a:p>
          </p:txBody>
        </p:sp>
      </p:grpSp>
      <p:grpSp>
        <p:nvGrpSpPr>
          <p:cNvPr id="6" name="Gruppieren 5"/>
          <p:cNvGrpSpPr/>
          <p:nvPr/>
        </p:nvGrpSpPr>
        <p:grpSpPr>
          <a:xfrm>
            <a:off x="2986700" y="1436431"/>
            <a:ext cx="6173177" cy="3426882"/>
            <a:chOff x="2910499" y="1436431"/>
            <a:chExt cx="6173177" cy="4584956"/>
          </a:xfrm>
        </p:grpSpPr>
        <p:grpSp>
          <p:nvGrpSpPr>
            <p:cNvPr id="5" name="Gruppieren 4"/>
            <p:cNvGrpSpPr/>
            <p:nvPr/>
          </p:nvGrpSpPr>
          <p:grpSpPr>
            <a:xfrm>
              <a:off x="2910499" y="2994992"/>
              <a:ext cx="6173176" cy="3026395"/>
              <a:chOff x="2932583" y="2996950"/>
              <a:chExt cx="6119913" cy="3010926"/>
            </a:xfrm>
          </p:grpSpPr>
          <p:sp>
            <p:nvSpPr>
              <p:cNvPr id="56" name="Textplatzhalter 2"/>
              <p:cNvSpPr txBox="1">
                <a:spLocks/>
              </p:cNvSpPr>
              <p:nvPr/>
            </p:nvSpPr>
            <p:spPr>
              <a:xfrm>
                <a:off x="2932583" y="2996950"/>
                <a:ext cx="6119913" cy="1406590"/>
              </a:xfrm>
              <a:prstGeom prst="rect">
                <a:avLst/>
              </a:prstGeom>
              <a:ln>
                <a:noFill/>
              </a:ln>
            </p:spPr>
            <p:txBody>
              <a:bodyPr anchor="ctr"/>
              <a:lstStyle>
                <a:lvl1pPr eaLnBrk="1" hangingPunct="1">
                  <a:spcAft>
                    <a:spcPts val="600"/>
                  </a:spcAft>
                  <a:defRPr sz="1400" b="1" i="0">
                    <a:solidFill>
                      <a:srgbClr val="00338D"/>
                    </a:solidFill>
                    <a:latin typeface="Univers for KPMG"/>
                    <a:cs typeface="Univers for KPMG"/>
                  </a:defRPr>
                </a:lvl1pPr>
                <a:lvl2pPr marL="0" indent="0" eaLnBrk="1" hangingPunct="1">
                  <a:spcAft>
                    <a:spcPts val="600"/>
                  </a:spcAft>
                  <a:buFontTx/>
                  <a:buNone/>
                  <a:defRPr sz="1400" b="0" i="0">
                    <a:solidFill>
                      <a:srgbClr val="00338D"/>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400" b="0" i="0">
                    <a:solidFill>
                      <a:srgbClr val="00338D"/>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400" b="0" i="0">
                    <a:solidFill>
                      <a:srgbClr val="00338D"/>
                    </a:solidFill>
                    <a:latin typeface="Univers for KPMG Light" panose="020B0403020202020204" pitchFamily="34" charset="0"/>
                    <a:cs typeface="Univers for KPMG Light" panose="020B0403020202020204" pitchFamily="34" charset="0"/>
                  </a:defRPr>
                </a:lvl4pPr>
                <a:lvl5pPr marL="895350" indent="-283464" algn="l" eaLnBrk="1" hangingPunct="1">
                  <a:spcAft>
                    <a:spcPts val="600"/>
                  </a:spcAft>
                  <a:buFont typeface="Univers for KPMG Light" panose="020B0403020202020204" pitchFamily="34" charset="0"/>
                  <a:buChar char="—"/>
                  <a:defRPr sz="1400" b="0" i="0">
                    <a:solidFill>
                      <a:srgbClr val="00338D"/>
                    </a:solidFill>
                    <a:latin typeface="Univers for KPMG Light" panose="020B0403020202020204" pitchFamily="34" charset="0"/>
                    <a:cs typeface="Univers for KPMG Light" panose="020B0403020202020204" pitchFamily="34" charset="0"/>
                  </a:defRPr>
                </a:lvl5pPr>
                <a:lvl6pPr marL="1162050" indent="-228600" algn="l" eaLnBrk="1" hangingPunct="1">
                  <a:spcAft>
                    <a:spcPts val="600"/>
                  </a:spcAft>
                  <a:buFont typeface="Univers for KPMG Light" panose="020B0403020202020204" pitchFamily="34" charset="0"/>
                  <a:buChar char="-"/>
                  <a:defRPr sz="1500" baseline="0">
                    <a:solidFill>
                      <a:srgbClr val="00338D"/>
                    </a:solidFill>
                    <a:latin typeface="Univers for KPMG Light" panose="020B0403020202020204" pitchFamily="34" charset="0"/>
                  </a:defRPr>
                </a:lvl6pPr>
                <a:lvl7pPr marL="1438275" indent="-283464"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7pPr>
                <a:lvl8pPr marL="1790700" indent="-228600"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8pPr>
                <a:lvl9pPr marL="2152650" indent="-283464"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9pPr>
              </a:lstStyle>
              <a:p>
                <a:pPr fontAlgn="base">
                  <a:lnSpc>
                    <a:spcPct val="150000"/>
                  </a:lnSpc>
                  <a:spcBef>
                    <a:spcPts val="800"/>
                  </a:spcBef>
                  <a:spcAft>
                    <a:spcPct val="0"/>
                  </a:spcAft>
                  <a:buClr>
                    <a:srgbClr val="97989A"/>
                  </a:buClr>
                  <a:buSzPct val="75000"/>
                  <a:defRPr/>
                </a:pPr>
                <a:r>
                  <a:rPr lang="de-DE" sz="1200" b="0" kern="0" dirty="0" smtClean="0">
                    <a:latin typeface="Arial" panose="020B0604020202020204" pitchFamily="34" charset="0"/>
                    <a:cs typeface="Arial" panose="020B0604020202020204" pitchFamily="34" charset="0"/>
                  </a:rPr>
                  <a:t>Bitte reichen Sie zudem ein kurzes Teammotivationsschreiben ein, aus dem hervorgeht, warum Sie und ihr Team genau die Richtigen sind, um Deutschland beim internationalen Finale in Lissabon zu vertreten. (max. eine DIN-A4-Seite).</a:t>
                </a:r>
                <a:endParaRPr lang="de-DE" sz="1200" b="0" kern="0" dirty="0">
                  <a:latin typeface="Arial" panose="020B0604020202020204" pitchFamily="34" charset="0"/>
                  <a:cs typeface="Arial" panose="020B0604020202020204" pitchFamily="34" charset="0"/>
                </a:endParaRPr>
              </a:p>
            </p:txBody>
          </p:sp>
          <p:sp>
            <p:nvSpPr>
              <p:cNvPr id="57" name="Textplatzhalter 2"/>
              <p:cNvSpPr txBox="1">
                <a:spLocks/>
              </p:cNvSpPr>
              <p:nvPr/>
            </p:nvSpPr>
            <p:spPr>
              <a:xfrm>
                <a:off x="2932583" y="4601286"/>
                <a:ext cx="6119913" cy="1406590"/>
              </a:xfrm>
              <a:prstGeom prst="rect">
                <a:avLst/>
              </a:prstGeom>
              <a:ln>
                <a:noFill/>
              </a:ln>
            </p:spPr>
            <p:txBody>
              <a:bodyPr anchor="ctr"/>
              <a:lstStyle>
                <a:lvl1pPr eaLnBrk="1" hangingPunct="1">
                  <a:spcAft>
                    <a:spcPts val="600"/>
                  </a:spcAft>
                  <a:defRPr sz="1400" b="1" i="0">
                    <a:solidFill>
                      <a:srgbClr val="00338D"/>
                    </a:solidFill>
                    <a:latin typeface="Univers for KPMG"/>
                    <a:cs typeface="Univers for KPMG"/>
                  </a:defRPr>
                </a:lvl1pPr>
                <a:lvl2pPr marL="0" indent="0" eaLnBrk="1" hangingPunct="1">
                  <a:spcAft>
                    <a:spcPts val="600"/>
                  </a:spcAft>
                  <a:buFontTx/>
                  <a:buNone/>
                  <a:defRPr sz="1400" b="0" i="0">
                    <a:solidFill>
                      <a:srgbClr val="00338D"/>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400" b="0" i="0">
                    <a:solidFill>
                      <a:srgbClr val="00338D"/>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400" b="0" i="0">
                    <a:solidFill>
                      <a:srgbClr val="00338D"/>
                    </a:solidFill>
                    <a:latin typeface="Univers for KPMG Light" panose="020B0403020202020204" pitchFamily="34" charset="0"/>
                    <a:cs typeface="Univers for KPMG Light" panose="020B0403020202020204" pitchFamily="34" charset="0"/>
                  </a:defRPr>
                </a:lvl4pPr>
                <a:lvl5pPr marL="895350" indent="-283464" algn="l" eaLnBrk="1" hangingPunct="1">
                  <a:spcAft>
                    <a:spcPts val="600"/>
                  </a:spcAft>
                  <a:buFont typeface="Univers for KPMG Light" panose="020B0403020202020204" pitchFamily="34" charset="0"/>
                  <a:buChar char="—"/>
                  <a:defRPr sz="1400" b="0" i="0">
                    <a:solidFill>
                      <a:srgbClr val="00338D"/>
                    </a:solidFill>
                    <a:latin typeface="Univers for KPMG Light" panose="020B0403020202020204" pitchFamily="34" charset="0"/>
                    <a:cs typeface="Univers for KPMG Light" panose="020B0403020202020204" pitchFamily="34" charset="0"/>
                  </a:defRPr>
                </a:lvl5pPr>
                <a:lvl6pPr marL="1162050" indent="-228600" algn="l" eaLnBrk="1" hangingPunct="1">
                  <a:spcAft>
                    <a:spcPts val="600"/>
                  </a:spcAft>
                  <a:buFont typeface="Univers for KPMG Light" panose="020B0403020202020204" pitchFamily="34" charset="0"/>
                  <a:buChar char="-"/>
                  <a:defRPr sz="1500" baseline="0">
                    <a:solidFill>
                      <a:srgbClr val="00338D"/>
                    </a:solidFill>
                    <a:latin typeface="Univers for KPMG Light" panose="020B0403020202020204" pitchFamily="34" charset="0"/>
                  </a:defRPr>
                </a:lvl6pPr>
                <a:lvl7pPr marL="1438275" indent="-283464"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7pPr>
                <a:lvl8pPr marL="1790700" indent="-228600"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8pPr>
                <a:lvl9pPr marL="2152650" indent="-283464"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9pPr>
              </a:lstStyle>
              <a:p>
                <a:pPr marL="271463" indent="-271463" fontAlgn="base">
                  <a:lnSpc>
                    <a:spcPct val="85000"/>
                  </a:lnSpc>
                  <a:spcBef>
                    <a:spcPts val="800"/>
                  </a:spcBef>
                  <a:spcAft>
                    <a:spcPct val="0"/>
                  </a:spcAft>
                  <a:buClr>
                    <a:srgbClr val="97989A"/>
                  </a:buClr>
                  <a:buSzPct val="75000"/>
                  <a:defRPr/>
                </a:pPr>
                <a:r>
                  <a:rPr lang="de-DE" sz="1200" b="0" kern="0" dirty="0" smtClean="0">
                    <a:latin typeface="Arial" panose="020B0604020202020204" pitchFamily="34" charset="0"/>
                    <a:cs typeface="Arial" panose="020B0604020202020204" pitchFamily="34" charset="0"/>
                  </a:rPr>
                  <a:t>Darüber hinaus möchten wir Sie bitten </a:t>
                </a:r>
                <a:r>
                  <a:rPr lang="de-DE" sz="1200" b="0" kern="0" dirty="0">
                    <a:latin typeface="Arial" panose="020B0604020202020204" pitchFamily="34" charset="0"/>
                    <a:cs typeface="Arial" panose="020B0604020202020204" pitchFamily="34" charset="0"/>
                  </a:rPr>
                  <a:t>die vier CVs Ihrer Teammitglieder </a:t>
                </a:r>
                <a:r>
                  <a:rPr lang="de-DE" sz="1200" b="0" kern="0" dirty="0" smtClean="0">
                    <a:latin typeface="Arial" panose="020B0604020202020204" pitchFamily="34" charset="0"/>
                    <a:cs typeface="Arial" panose="020B0604020202020204" pitchFamily="34" charset="0"/>
                  </a:rPr>
                  <a:t>einzureichen.</a:t>
                </a:r>
                <a:endParaRPr lang="de-DE" sz="1200" b="0" kern="0" dirty="0">
                  <a:latin typeface="Arial" panose="020B0604020202020204" pitchFamily="34" charset="0"/>
                  <a:cs typeface="Arial" panose="020B0604020202020204" pitchFamily="34" charset="0"/>
                </a:endParaRPr>
              </a:p>
            </p:txBody>
          </p:sp>
        </p:grpSp>
        <p:sp>
          <p:nvSpPr>
            <p:cNvPr id="18" name="Textplatzhalter 2"/>
            <p:cNvSpPr txBox="1">
              <a:spLocks/>
            </p:cNvSpPr>
            <p:nvPr/>
          </p:nvSpPr>
          <p:spPr>
            <a:xfrm>
              <a:off x="2913659" y="1436431"/>
              <a:ext cx="6170017" cy="1413350"/>
            </a:xfrm>
            <a:prstGeom prst="rect">
              <a:avLst/>
            </a:prstGeom>
            <a:ln>
              <a:noFill/>
            </a:ln>
          </p:spPr>
          <p:txBody>
            <a:bodyPr anchor="ctr"/>
            <a:lstStyle>
              <a:lvl1pPr eaLnBrk="1" hangingPunct="1">
                <a:spcAft>
                  <a:spcPts val="600"/>
                </a:spcAft>
                <a:defRPr sz="1400" b="1" i="0">
                  <a:solidFill>
                    <a:srgbClr val="00338D"/>
                  </a:solidFill>
                  <a:latin typeface="Univers for KPMG"/>
                  <a:cs typeface="Univers for KPMG"/>
                </a:defRPr>
              </a:lvl1pPr>
              <a:lvl2pPr marL="0" indent="0" eaLnBrk="1" hangingPunct="1">
                <a:spcAft>
                  <a:spcPts val="600"/>
                </a:spcAft>
                <a:buFontTx/>
                <a:buNone/>
                <a:defRPr sz="1400" b="0" i="0">
                  <a:solidFill>
                    <a:srgbClr val="00338D"/>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400" b="0" i="0">
                  <a:solidFill>
                    <a:srgbClr val="00338D"/>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400" b="0" i="0">
                  <a:solidFill>
                    <a:srgbClr val="00338D"/>
                  </a:solidFill>
                  <a:latin typeface="Univers for KPMG Light" panose="020B0403020202020204" pitchFamily="34" charset="0"/>
                  <a:cs typeface="Univers for KPMG Light" panose="020B0403020202020204" pitchFamily="34" charset="0"/>
                </a:defRPr>
              </a:lvl4pPr>
              <a:lvl5pPr marL="895350" indent="-283464" algn="l" eaLnBrk="1" hangingPunct="1">
                <a:spcAft>
                  <a:spcPts val="600"/>
                </a:spcAft>
                <a:buFont typeface="Univers for KPMG Light" panose="020B0403020202020204" pitchFamily="34" charset="0"/>
                <a:buChar char="—"/>
                <a:defRPr sz="1400" b="0" i="0">
                  <a:solidFill>
                    <a:srgbClr val="00338D"/>
                  </a:solidFill>
                  <a:latin typeface="Univers for KPMG Light" panose="020B0403020202020204" pitchFamily="34" charset="0"/>
                  <a:cs typeface="Univers for KPMG Light" panose="020B0403020202020204" pitchFamily="34" charset="0"/>
                </a:defRPr>
              </a:lvl5pPr>
              <a:lvl6pPr marL="1162050" indent="-228600" algn="l" eaLnBrk="1" hangingPunct="1">
                <a:spcAft>
                  <a:spcPts val="600"/>
                </a:spcAft>
                <a:buFont typeface="Univers for KPMG Light" panose="020B0403020202020204" pitchFamily="34" charset="0"/>
                <a:buChar char="-"/>
                <a:defRPr sz="1500" baseline="0">
                  <a:solidFill>
                    <a:srgbClr val="00338D"/>
                  </a:solidFill>
                  <a:latin typeface="Univers for KPMG Light" panose="020B0403020202020204" pitchFamily="34" charset="0"/>
                </a:defRPr>
              </a:lvl6pPr>
              <a:lvl7pPr marL="1438275" indent="-283464"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7pPr>
              <a:lvl8pPr marL="1790700" indent="-228600"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8pPr>
              <a:lvl9pPr marL="2152650" indent="-283464" algn="l" eaLnBrk="1" hangingPunct="1">
                <a:spcAft>
                  <a:spcPts val="600"/>
                </a:spcAft>
                <a:buFont typeface="Univers for KPMG Light" panose="020B0403020202020204" pitchFamily="34" charset="0"/>
                <a:buChar char="—"/>
                <a:defRPr sz="1500">
                  <a:solidFill>
                    <a:srgbClr val="00338D"/>
                  </a:solidFill>
                  <a:latin typeface="Univers for KPMG Light" panose="020B0403020202020204" pitchFamily="34" charset="0"/>
                </a:defRPr>
              </a:lvl9pPr>
            </a:lstStyle>
            <a:p>
              <a:pPr fontAlgn="base">
                <a:lnSpc>
                  <a:spcPct val="85000"/>
                </a:lnSpc>
                <a:spcBef>
                  <a:spcPts val="800"/>
                </a:spcBef>
                <a:spcAft>
                  <a:spcPct val="0"/>
                </a:spcAft>
                <a:buClr>
                  <a:srgbClr val="97989A"/>
                </a:buClr>
                <a:buSzPct val="75000"/>
                <a:defRPr/>
              </a:pPr>
              <a:r>
                <a:rPr lang="de-DE" sz="1200" b="0" dirty="0" smtClean="0">
                  <a:latin typeface="Arial" panose="020B0604020202020204" pitchFamily="34" charset="0"/>
                  <a:cs typeface="Arial" panose="020B0604020202020204" pitchFamily="34" charset="0"/>
                </a:rPr>
                <a:t>Bitte füllen Sie </a:t>
              </a:r>
              <a:r>
                <a:rPr lang="de-DE" sz="1200" b="0" dirty="0">
                  <a:latin typeface="Arial" panose="020B0604020202020204" pitchFamily="34" charset="0"/>
                  <a:cs typeface="Arial" panose="020B0604020202020204" pitchFamily="34" charset="0"/>
                </a:rPr>
                <a:t>das </a:t>
              </a:r>
              <a:r>
                <a:rPr lang="de-DE" sz="1200" b="0" dirty="0" smtClean="0">
                  <a:latin typeface="Arial" panose="020B0604020202020204" pitchFamily="34" charset="0"/>
                  <a:cs typeface="Arial" panose="020B0604020202020204" pitchFamily="34" charset="0"/>
                </a:rPr>
                <a:t>Online-Bewerbungsformular </a:t>
              </a:r>
              <a:r>
                <a:rPr lang="de-DE" sz="1200" b="0" dirty="0">
                  <a:latin typeface="Arial" panose="020B0604020202020204" pitchFamily="34" charset="0"/>
                  <a:cs typeface="Arial" panose="020B0604020202020204" pitchFamily="34" charset="0"/>
                </a:rPr>
                <a:t>für das gesamte </a:t>
              </a:r>
              <a:r>
                <a:rPr lang="de-DE" sz="1200" b="0" dirty="0" smtClean="0">
                  <a:latin typeface="Arial" panose="020B0604020202020204" pitchFamily="34" charset="0"/>
                  <a:cs typeface="Arial" panose="020B0604020202020204" pitchFamily="34" charset="0"/>
                </a:rPr>
                <a:t>Team aus.</a:t>
              </a:r>
              <a:endParaRPr lang="de-DE" sz="1200" b="0" dirty="0">
                <a:latin typeface="Arial" panose="020B0604020202020204" pitchFamily="34" charset="0"/>
                <a:cs typeface="Arial" panose="020B0604020202020204" pitchFamily="34" charset="0"/>
              </a:endParaRPr>
            </a:p>
            <a:p>
              <a:pPr marL="271463" indent="-271463" fontAlgn="base">
                <a:lnSpc>
                  <a:spcPct val="85000"/>
                </a:lnSpc>
                <a:spcBef>
                  <a:spcPts val="800"/>
                </a:spcBef>
                <a:spcAft>
                  <a:spcPct val="0"/>
                </a:spcAft>
                <a:buClr>
                  <a:srgbClr val="97989A"/>
                </a:buClr>
                <a:buSzPct val="75000"/>
                <a:defRPr/>
              </a:pPr>
              <a:r>
                <a:rPr lang="de-DE" sz="1200" b="0" dirty="0">
                  <a:latin typeface="Arial" panose="020B0604020202020204" pitchFamily="34" charset="0"/>
                  <a:cs typeface="Arial" panose="020B0604020202020204" pitchFamily="34" charset="0"/>
                </a:rPr>
                <a:t>Das Formular sowie alle weiteren Informationen finden Sie unter </a:t>
              </a:r>
              <a:r>
                <a:rPr lang="de-DE" sz="1200" b="0" dirty="0">
                  <a:latin typeface="Arial" panose="020B0604020202020204" pitchFamily="34" charset="0"/>
                  <a:cs typeface="Arial" panose="020B0604020202020204" pitchFamily="34" charset="0"/>
                  <a:hlinkClick r:id="rId7"/>
                </a:rPr>
                <a:t>www.kpmg.de/kicc</a:t>
              </a:r>
              <a:endParaRPr lang="de-DE" sz="1200" b="0" dirty="0">
                <a:latin typeface="Arial" panose="020B0604020202020204" pitchFamily="34" charset="0"/>
                <a:cs typeface="Arial" panose="020B0604020202020204" pitchFamily="34" charset="0"/>
              </a:endParaRPr>
            </a:p>
          </p:txBody>
        </p:sp>
      </p:grpSp>
      <p:sp>
        <p:nvSpPr>
          <p:cNvPr id="9" name="Rechteck 8"/>
          <p:cNvSpPr/>
          <p:nvPr/>
        </p:nvSpPr>
        <p:spPr>
          <a:xfrm>
            <a:off x="2237448" y="5309672"/>
            <a:ext cx="5220000" cy="612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latin typeface="Arial" panose="020B0604020202020204" pitchFamily="34" charset="0"/>
                <a:cs typeface="Arial" panose="020B0604020202020204" pitchFamily="34" charset="0"/>
              </a:rPr>
              <a:t>Bewerbungsschlus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ist</a:t>
            </a:r>
            <a:r>
              <a:rPr lang="en-US" dirty="0" smtClean="0">
                <a:latin typeface="Arial" panose="020B0604020202020204" pitchFamily="34" charset="0"/>
                <a:cs typeface="Arial" panose="020B0604020202020204" pitchFamily="34" charset="0"/>
              </a:rPr>
              <a:t> der 11. November 2016</a:t>
            </a:r>
            <a:endParaRPr lang="en-US" dirty="0">
              <a:latin typeface="Arial" panose="020B0604020202020204" pitchFamily="34" charset="0"/>
              <a:cs typeface="Arial" panose="020B0604020202020204" pitchFamily="34" charset="0"/>
            </a:endParaRPr>
          </a:p>
        </p:txBody>
      </p:sp>
      <p:sp>
        <p:nvSpPr>
          <p:cNvPr id="19" name="Rectangle 13"/>
          <p:cNvSpPr>
            <a:spLocks noChangeArrowheads="1"/>
          </p:cNvSpPr>
          <p:nvPr/>
        </p:nvSpPr>
        <p:spPr bwMode="auto">
          <a:xfrm>
            <a:off x="1949448" y="5299970"/>
            <a:ext cx="288000" cy="632790"/>
          </a:xfrm>
          <a:prstGeom prst="rect">
            <a:avLst/>
          </a:prstGeom>
          <a:solidFill>
            <a:srgbClr val="6D2077"/>
          </a:solidFill>
          <a:ln w="12700">
            <a:solidFill>
              <a:srgbClr val="6D2077"/>
            </a:solidFill>
            <a:miter lim="800000"/>
            <a:headEnd/>
            <a:tailEnd/>
          </a:ln>
        </p:spPr>
        <p:txBody>
          <a:bodyPr wrap="square" lIns="54000" tIns="54000" rIns="54000" bIns="54000" anchor="ctr" anchorCtr="1"/>
          <a:lstStyle/>
          <a:p>
            <a:pPr algn="ctr" eaLnBrk="0" hangingPunct="0"/>
            <a:endParaRPr kumimoji="1" lang="de-DE" sz="1400"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06986370"/>
      </p:ext>
    </p:extLst>
  </p:cSld>
  <p:clrMapOvr>
    <a:masterClrMapping/>
  </p:clrMapOvr>
  <p:transition spd="med">
    <p:pull/>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25" name="Picture 24"/>
          <p:cNvPicPr>
            <a:picLocks noChangeAspect="1"/>
          </p:cNvPicPr>
          <p:nvPr/>
        </p:nvPicPr>
        <p:blipFill>
          <a:blip r:embed="rId2"/>
          <a:stretch>
            <a:fillRect/>
          </a:stretch>
        </p:blipFill>
        <p:spPr>
          <a:xfrm>
            <a:off x="4447581" y="1728671"/>
            <a:ext cx="1045248" cy="3287670"/>
          </a:xfrm>
          <a:prstGeom prst="rect">
            <a:avLst/>
          </a:prstGeom>
        </p:spPr>
      </p:pic>
      <p:sp>
        <p:nvSpPr>
          <p:cNvPr id="65" name="Freeform 11"/>
          <p:cNvSpPr>
            <a:spLocks noEditPoints="1"/>
          </p:cNvSpPr>
          <p:nvPr/>
        </p:nvSpPr>
        <p:spPr bwMode="auto">
          <a:xfrm>
            <a:off x="3614906" y="2252683"/>
            <a:ext cx="491849" cy="2177715"/>
          </a:xfrm>
          <a:custGeom>
            <a:avLst/>
            <a:gdLst>
              <a:gd name="T0" fmla="*/ 150 w 168"/>
              <a:gd name="T1" fmla="*/ 161 h 742"/>
              <a:gd name="T2" fmla="*/ 101 w 168"/>
              <a:gd name="T3" fmla="*/ 144 h 742"/>
              <a:gd name="T4" fmla="*/ 103 w 168"/>
              <a:gd name="T5" fmla="*/ 110 h 742"/>
              <a:gd name="T6" fmla="*/ 102 w 168"/>
              <a:gd name="T7" fmla="*/ 114 h 742"/>
              <a:gd name="T8" fmla="*/ 99 w 168"/>
              <a:gd name="T9" fmla="*/ 122 h 742"/>
              <a:gd name="T10" fmla="*/ 116 w 168"/>
              <a:gd name="T11" fmla="*/ 88 h 742"/>
              <a:gd name="T12" fmla="*/ 113 w 168"/>
              <a:gd name="T13" fmla="*/ 101 h 742"/>
              <a:gd name="T14" fmla="*/ 120 w 168"/>
              <a:gd name="T15" fmla="*/ 80 h 742"/>
              <a:gd name="T16" fmla="*/ 122 w 168"/>
              <a:gd name="T17" fmla="*/ 76 h 742"/>
              <a:gd name="T18" fmla="*/ 123 w 168"/>
              <a:gd name="T19" fmla="*/ 74 h 742"/>
              <a:gd name="T20" fmla="*/ 124 w 168"/>
              <a:gd name="T21" fmla="*/ 70 h 742"/>
              <a:gd name="T22" fmla="*/ 125 w 168"/>
              <a:gd name="T23" fmla="*/ 67 h 742"/>
              <a:gd name="T24" fmla="*/ 126 w 168"/>
              <a:gd name="T25" fmla="*/ 63 h 742"/>
              <a:gd name="T26" fmla="*/ 126 w 168"/>
              <a:gd name="T27" fmla="*/ 61 h 742"/>
              <a:gd name="T28" fmla="*/ 127 w 168"/>
              <a:gd name="T29" fmla="*/ 57 h 742"/>
              <a:gd name="T30" fmla="*/ 127 w 168"/>
              <a:gd name="T31" fmla="*/ 55 h 742"/>
              <a:gd name="T32" fmla="*/ 126 w 168"/>
              <a:gd name="T33" fmla="*/ 51 h 742"/>
              <a:gd name="T34" fmla="*/ 126 w 168"/>
              <a:gd name="T35" fmla="*/ 49 h 742"/>
              <a:gd name="T36" fmla="*/ 125 w 168"/>
              <a:gd name="T37" fmla="*/ 46 h 742"/>
              <a:gd name="T38" fmla="*/ 125 w 168"/>
              <a:gd name="T39" fmla="*/ 44 h 742"/>
              <a:gd name="T40" fmla="*/ 124 w 168"/>
              <a:gd name="T41" fmla="*/ 41 h 742"/>
              <a:gd name="T42" fmla="*/ 123 w 168"/>
              <a:gd name="T43" fmla="*/ 39 h 742"/>
              <a:gd name="T44" fmla="*/ 121 w 168"/>
              <a:gd name="T45" fmla="*/ 36 h 742"/>
              <a:gd name="T46" fmla="*/ 120 w 168"/>
              <a:gd name="T47" fmla="*/ 34 h 742"/>
              <a:gd name="T48" fmla="*/ 118 w 168"/>
              <a:gd name="T49" fmla="*/ 32 h 742"/>
              <a:gd name="T50" fmla="*/ 116 w 168"/>
              <a:gd name="T51" fmla="*/ 30 h 742"/>
              <a:gd name="T52" fmla="*/ 115 w 168"/>
              <a:gd name="T53" fmla="*/ 28 h 742"/>
              <a:gd name="T54" fmla="*/ 113 w 168"/>
              <a:gd name="T55" fmla="*/ 26 h 742"/>
              <a:gd name="T56" fmla="*/ 111 w 168"/>
              <a:gd name="T57" fmla="*/ 25 h 742"/>
              <a:gd name="T58" fmla="*/ 109 w 168"/>
              <a:gd name="T59" fmla="*/ 23 h 742"/>
              <a:gd name="T60" fmla="*/ 107 w 168"/>
              <a:gd name="T61" fmla="*/ 22 h 742"/>
              <a:gd name="T62" fmla="*/ 102 w 168"/>
              <a:gd name="T63" fmla="*/ 19 h 742"/>
              <a:gd name="T64" fmla="*/ 101 w 168"/>
              <a:gd name="T65" fmla="*/ 19 h 742"/>
              <a:gd name="T66" fmla="*/ 25 w 168"/>
              <a:gd name="T67" fmla="*/ 47 h 742"/>
              <a:gd name="T68" fmla="*/ 9 w 168"/>
              <a:gd name="T69" fmla="*/ 161 h 742"/>
              <a:gd name="T70" fmla="*/ 1 w 168"/>
              <a:gd name="T71" fmla="*/ 261 h 742"/>
              <a:gd name="T72" fmla="*/ 12 w 168"/>
              <a:gd name="T73" fmla="*/ 354 h 742"/>
              <a:gd name="T74" fmla="*/ 17 w 168"/>
              <a:gd name="T75" fmla="*/ 410 h 742"/>
              <a:gd name="T76" fmla="*/ 41 w 168"/>
              <a:gd name="T77" fmla="*/ 537 h 742"/>
              <a:gd name="T78" fmla="*/ 56 w 168"/>
              <a:gd name="T79" fmla="*/ 689 h 742"/>
              <a:gd name="T80" fmla="*/ 49 w 168"/>
              <a:gd name="T81" fmla="*/ 735 h 742"/>
              <a:gd name="T82" fmla="*/ 79 w 168"/>
              <a:gd name="T83" fmla="*/ 739 h 742"/>
              <a:gd name="T84" fmla="*/ 111 w 168"/>
              <a:gd name="T85" fmla="*/ 732 h 742"/>
              <a:gd name="T86" fmla="*/ 118 w 168"/>
              <a:gd name="T87" fmla="*/ 574 h 742"/>
              <a:gd name="T88" fmla="*/ 140 w 168"/>
              <a:gd name="T89" fmla="*/ 389 h 742"/>
              <a:gd name="T90" fmla="*/ 135 w 168"/>
              <a:gd name="T91" fmla="*/ 347 h 742"/>
              <a:gd name="T92" fmla="*/ 146 w 168"/>
              <a:gd name="T93" fmla="*/ 300 h 742"/>
              <a:gd name="T94" fmla="*/ 165 w 168"/>
              <a:gd name="T95" fmla="*/ 258 h 742"/>
              <a:gd name="T96" fmla="*/ 33 w 168"/>
              <a:gd name="T97" fmla="*/ 236 h 742"/>
              <a:gd name="T98" fmla="*/ 25 w 168"/>
              <a:gd name="T99" fmla="*/ 258 h 742"/>
              <a:gd name="T100" fmla="*/ 79 w 168"/>
              <a:gd name="T101" fmla="*/ 718 h 742"/>
              <a:gd name="T102" fmla="*/ 76 w 168"/>
              <a:gd name="T103" fmla="*/ 567 h 742"/>
              <a:gd name="T104" fmla="*/ 82 w 168"/>
              <a:gd name="T105" fmla="*/ 567 h 742"/>
              <a:gd name="T106" fmla="*/ 138 w 168"/>
              <a:gd name="T107" fmla="*/ 25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 h="742">
                <a:moveTo>
                  <a:pt x="165" y="258"/>
                </a:moveTo>
                <a:cubicBezTo>
                  <a:pt x="154" y="186"/>
                  <a:pt x="154" y="186"/>
                  <a:pt x="154" y="186"/>
                </a:cubicBezTo>
                <a:cubicBezTo>
                  <a:pt x="153" y="175"/>
                  <a:pt x="151" y="164"/>
                  <a:pt x="150" y="161"/>
                </a:cubicBezTo>
                <a:cubicBezTo>
                  <a:pt x="147" y="152"/>
                  <a:pt x="141" y="149"/>
                  <a:pt x="132" y="149"/>
                </a:cubicBezTo>
                <a:cubicBezTo>
                  <a:pt x="127" y="149"/>
                  <a:pt x="117" y="148"/>
                  <a:pt x="113" y="148"/>
                </a:cubicBezTo>
                <a:cubicBezTo>
                  <a:pt x="107" y="147"/>
                  <a:pt x="102" y="145"/>
                  <a:pt x="101" y="144"/>
                </a:cubicBezTo>
                <a:cubicBezTo>
                  <a:pt x="97" y="138"/>
                  <a:pt x="95" y="127"/>
                  <a:pt x="96" y="116"/>
                </a:cubicBezTo>
                <a:cubicBezTo>
                  <a:pt x="98" y="115"/>
                  <a:pt x="100" y="114"/>
                  <a:pt x="101" y="112"/>
                </a:cubicBezTo>
                <a:cubicBezTo>
                  <a:pt x="102" y="111"/>
                  <a:pt x="102" y="111"/>
                  <a:pt x="103" y="110"/>
                </a:cubicBezTo>
                <a:cubicBezTo>
                  <a:pt x="103" y="110"/>
                  <a:pt x="103" y="110"/>
                  <a:pt x="103" y="110"/>
                </a:cubicBezTo>
                <a:cubicBezTo>
                  <a:pt x="103" y="111"/>
                  <a:pt x="102" y="112"/>
                  <a:pt x="102" y="113"/>
                </a:cubicBezTo>
                <a:cubicBezTo>
                  <a:pt x="102" y="113"/>
                  <a:pt x="102" y="114"/>
                  <a:pt x="102" y="114"/>
                </a:cubicBezTo>
                <a:cubicBezTo>
                  <a:pt x="102" y="115"/>
                  <a:pt x="101" y="116"/>
                  <a:pt x="101" y="117"/>
                </a:cubicBezTo>
                <a:cubicBezTo>
                  <a:pt x="101" y="117"/>
                  <a:pt x="101" y="117"/>
                  <a:pt x="101" y="118"/>
                </a:cubicBezTo>
                <a:cubicBezTo>
                  <a:pt x="100" y="119"/>
                  <a:pt x="100" y="120"/>
                  <a:pt x="99" y="122"/>
                </a:cubicBezTo>
                <a:cubicBezTo>
                  <a:pt x="100" y="121"/>
                  <a:pt x="102" y="115"/>
                  <a:pt x="104" y="108"/>
                </a:cubicBezTo>
                <a:cubicBezTo>
                  <a:pt x="108" y="103"/>
                  <a:pt x="111" y="98"/>
                  <a:pt x="114" y="93"/>
                </a:cubicBezTo>
                <a:cubicBezTo>
                  <a:pt x="115" y="92"/>
                  <a:pt x="115" y="90"/>
                  <a:pt x="116" y="88"/>
                </a:cubicBezTo>
                <a:cubicBezTo>
                  <a:pt x="116" y="88"/>
                  <a:pt x="116" y="88"/>
                  <a:pt x="116" y="88"/>
                </a:cubicBezTo>
                <a:cubicBezTo>
                  <a:pt x="116" y="88"/>
                  <a:pt x="116" y="88"/>
                  <a:pt x="116" y="87"/>
                </a:cubicBezTo>
                <a:cubicBezTo>
                  <a:pt x="117" y="92"/>
                  <a:pt x="116" y="96"/>
                  <a:pt x="113" y="101"/>
                </a:cubicBezTo>
                <a:cubicBezTo>
                  <a:pt x="118" y="95"/>
                  <a:pt x="119" y="89"/>
                  <a:pt x="118" y="83"/>
                </a:cubicBezTo>
                <a:cubicBezTo>
                  <a:pt x="118" y="82"/>
                  <a:pt x="119" y="81"/>
                  <a:pt x="119" y="81"/>
                </a:cubicBezTo>
                <a:cubicBezTo>
                  <a:pt x="119" y="81"/>
                  <a:pt x="120" y="80"/>
                  <a:pt x="120" y="80"/>
                </a:cubicBezTo>
                <a:cubicBezTo>
                  <a:pt x="120" y="80"/>
                  <a:pt x="120" y="79"/>
                  <a:pt x="120" y="79"/>
                </a:cubicBezTo>
                <a:cubicBezTo>
                  <a:pt x="121" y="78"/>
                  <a:pt x="121" y="78"/>
                  <a:pt x="121" y="78"/>
                </a:cubicBezTo>
                <a:cubicBezTo>
                  <a:pt x="121" y="77"/>
                  <a:pt x="121" y="77"/>
                  <a:pt x="122" y="76"/>
                </a:cubicBezTo>
                <a:cubicBezTo>
                  <a:pt x="122" y="76"/>
                  <a:pt x="122" y="76"/>
                  <a:pt x="122" y="76"/>
                </a:cubicBezTo>
                <a:cubicBezTo>
                  <a:pt x="122" y="75"/>
                  <a:pt x="122" y="75"/>
                  <a:pt x="123" y="74"/>
                </a:cubicBezTo>
                <a:cubicBezTo>
                  <a:pt x="123" y="74"/>
                  <a:pt x="123" y="74"/>
                  <a:pt x="123" y="74"/>
                </a:cubicBezTo>
                <a:cubicBezTo>
                  <a:pt x="123" y="73"/>
                  <a:pt x="123" y="72"/>
                  <a:pt x="124" y="72"/>
                </a:cubicBezTo>
                <a:cubicBezTo>
                  <a:pt x="124" y="72"/>
                  <a:pt x="124" y="71"/>
                  <a:pt x="124" y="71"/>
                </a:cubicBezTo>
                <a:cubicBezTo>
                  <a:pt x="124" y="71"/>
                  <a:pt x="124" y="70"/>
                  <a:pt x="124" y="70"/>
                </a:cubicBezTo>
                <a:cubicBezTo>
                  <a:pt x="124" y="69"/>
                  <a:pt x="124" y="69"/>
                  <a:pt x="125" y="69"/>
                </a:cubicBezTo>
                <a:cubicBezTo>
                  <a:pt x="125" y="69"/>
                  <a:pt x="125" y="68"/>
                  <a:pt x="125" y="68"/>
                </a:cubicBezTo>
                <a:cubicBezTo>
                  <a:pt x="125" y="67"/>
                  <a:pt x="125" y="67"/>
                  <a:pt x="125" y="67"/>
                </a:cubicBezTo>
                <a:cubicBezTo>
                  <a:pt x="125" y="67"/>
                  <a:pt x="125" y="66"/>
                  <a:pt x="125" y="66"/>
                </a:cubicBezTo>
                <a:cubicBezTo>
                  <a:pt x="126" y="65"/>
                  <a:pt x="126" y="65"/>
                  <a:pt x="126" y="65"/>
                </a:cubicBezTo>
                <a:cubicBezTo>
                  <a:pt x="126" y="64"/>
                  <a:pt x="126" y="64"/>
                  <a:pt x="126" y="63"/>
                </a:cubicBezTo>
                <a:cubicBezTo>
                  <a:pt x="126" y="63"/>
                  <a:pt x="126" y="63"/>
                  <a:pt x="126" y="63"/>
                </a:cubicBezTo>
                <a:cubicBezTo>
                  <a:pt x="126" y="62"/>
                  <a:pt x="126" y="62"/>
                  <a:pt x="126" y="61"/>
                </a:cubicBezTo>
                <a:cubicBezTo>
                  <a:pt x="126" y="61"/>
                  <a:pt x="126" y="61"/>
                  <a:pt x="126" y="61"/>
                </a:cubicBezTo>
                <a:cubicBezTo>
                  <a:pt x="126" y="60"/>
                  <a:pt x="126" y="60"/>
                  <a:pt x="126" y="59"/>
                </a:cubicBezTo>
                <a:cubicBezTo>
                  <a:pt x="127" y="59"/>
                  <a:pt x="127" y="59"/>
                  <a:pt x="127" y="59"/>
                </a:cubicBezTo>
                <a:cubicBezTo>
                  <a:pt x="127" y="58"/>
                  <a:pt x="127" y="58"/>
                  <a:pt x="127" y="57"/>
                </a:cubicBezTo>
                <a:cubicBezTo>
                  <a:pt x="127" y="57"/>
                  <a:pt x="127" y="57"/>
                  <a:pt x="127" y="57"/>
                </a:cubicBezTo>
                <a:cubicBezTo>
                  <a:pt x="127" y="56"/>
                  <a:pt x="127" y="56"/>
                  <a:pt x="127" y="55"/>
                </a:cubicBezTo>
                <a:cubicBezTo>
                  <a:pt x="127" y="55"/>
                  <a:pt x="127" y="55"/>
                  <a:pt x="127" y="55"/>
                </a:cubicBezTo>
                <a:cubicBezTo>
                  <a:pt x="127" y="54"/>
                  <a:pt x="127" y="54"/>
                  <a:pt x="127" y="53"/>
                </a:cubicBezTo>
                <a:cubicBezTo>
                  <a:pt x="127" y="53"/>
                  <a:pt x="127" y="53"/>
                  <a:pt x="127" y="53"/>
                </a:cubicBezTo>
                <a:cubicBezTo>
                  <a:pt x="126" y="52"/>
                  <a:pt x="126" y="52"/>
                  <a:pt x="126" y="51"/>
                </a:cubicBezTo>
                <a:cubicBezTo>
                  <a:pt x="126" y="51"/>
                  <a:pt x="126" y="51"/>
                  <a:pt x="126" y="51"/>
                </a:cubicBezTo>
                <a:cubicBezTo>
                  <a:pt x="126" y="50"/>
                  <a:pt x="126" y="50"/>
                  <a:pt x="126" y="50"/>
                </a:cubicBezTo>
                <a:cubicBezTo>
                  <a:pt x="126" y="49"/>
                  <a:pt x="126" y="49"/>
                  <a:pt x="126" y="49"/>
                </a:cubicBezTo>
                <a:cubicBezTo>
                  <a:pt x="126" y="49"/>
                  <a:pt x="126" y="48"/>
                  <a:pt x="126" y="48"/>
                </a:cubicBezTo>
                <a:cubicBezTo>
                  <a:pt x="126" y="48"/>
                  <a:pt x="126" y="48"/>
                  <a:pt x="126" y="47"/>
                </a:cubicBezTo>
                <a:cubicBezTo>
                  <a:pt x="126" y="47"/>
                  <a:pt x="125" y="46"/>
                  <a:pt x="125" y="46"/>
                </a:cubicBezTo>
                <a:cubicBezTo>
                  <a:pt x="125" y="46"/>
                  <a:pt x="125" y="46"/>
                  <a:pt x="125" y="46"/>
                </a:cubicBezTo>
                <a:cubicBezTo>
                  <a:pt x="125" y="45"/>
                  <a:pt x="125" y="45"/>
                  <a:pt x="125" y="44"/>
                </a:cubicBezTo>
                <a:cubicBezTo>
                  <a:pt x="125" y="44"/>
                  <a:pt x="125" y="44"/>
                  <a:pt x="125" y="44"/>
                </a:cubicBezTo>
                <a:cubicBezTo>
                  <a:pt x="125" y="43"/>
                  <a:pt x="124" y="43"/>
                  <a:pt x="124" y="43"/>
                </a:cubicBezTo>
                <a:cubicBezTo>
                  <a:pt x="124" y="42"/>
                  <a:pt x="124" y="42"/>
                  <a:pt x="124" y="42"/>
                </a:cubicBezTo>
                <a:cubicBezTo>
                  <a:pt x="124" y="42"/>
                  <a:pt x="124" y="41"/>
                  <a:pt x="124" y="41"/>
                </a:cubicBezTo>
                <a:cubicBezTo>
                  <a:pt x="124" y="41"/>
                  <a:pt x="123" y="41"/>
                  <a:pt x="123" y="40"/>
                </a:cubicBezTo>
                <a:cubicBezTo>
                  <a:pt x="123" y="40"/>
                  <a:pt x="123" y="40"/>
                  <a:pt x="123" y="39"/>
                </a:cubicBezTo>
                <a:cubicBezTo>
                  <a:pt x="123" y="39"/>
                  <a:pt x="123" y="39"/>
                  <a:pt x="123" y="39"/>
                </a:cubicBezTo>
                <a:cubicBezTo>
                  <a:pt x="122" y="38"/>
                  <a:pt x="122" y="38"/>
                  <a:pt x="122" y="37"/>
                </a:cubicBezTo>
                <a:cubicBezTo>
                  <a:pt x="122" y="37"/>
                  <a:pt x="122" y="37"/>
                  <a:pt x="122" y="37"/>
                </a:cubicBezTo>
                <a:cubicBezTo>
                  <a:pt x="122" y="37"/>
                  <a:pt x="121" y="36"/>
                  <a:pt x="121" y="36"/>
                </a:cubicBezTo>
                <a:cubicBezTo>
                  <a:pt x="121" y="36"/>
                  <a:pt x="121" y="36"/>
                  <a:pt x="121" y="36"/>
                </a:cubicBezTo>
                <a:cubicBezTo>
                  <a:pt x="121" y="35"/>
                  <a:pt x="120" y="35"/>
                  <a:pt x="120" y="35"/>
                </a:cubicBezTo>
                <a:cubicBezTo>
                  <a:pt x="120" y="35"/>
                  <a:pt x="120" y="34"/>
                  <a:pt x="120" y="34"/>
                </a:cubicBezTo>
                <a:cubicBezTo>
                  <a:pt x="120" y="34"/>
                  <a:pt x="120" y="34"/>
                  <a:pt x="119" y="33"/>
                </a:cubicBezTo>
                <a:cubicBezTo>
                  <a:pt x="119" y="33"/>
                  <a:pt x="119" y="33"/>
                  <a:pt x="119" y="33"/>
                </a:cubicBezTo>
                <a:cubicBezTo>
                  <a:pt x="119" y="33"/>
                  <a:pt x="119" y="32"/>
                  <a:pt x="118" y="32"/>
                </a:cubicBezTo>
                <a:cubicBezTo>
                  <a:pt x="118" y="32"/>
                  <a:pt x="118" y="32"/>
                  <a:pt x="118" y="31"/>
                </a:cubicBezTo>
                <a:cubicBezTo>
                  <a:pt x="118" y="31"/>
                  <a:pt x="117" y="31"/>
                  <a:pt x="117" y="30"/>
                </a:cubicBezTo>
                <a:cubicBezTo>
                  <a:pt x="117" y="30"/>
                  <a:pt x="117" y="30"/>
                  <a:pt x="116" y="30"/>
                </a:cubicBezTo>
                <a:cubicBezTo>
                  <a:pt x="116" y="30"/>
                  <a:pt x="116" y="29"/>
                  <a:pt x="116" y="29"/>
                </a:cubicBezTo>
                <a:cubicBezTo>
                  <a:pt x="116" y="29"/>
                  <a:pt x="116" y="29"/>
                  <a:pt x="115" y="29"/>
                </a:cubicBezTo>
                <a:cubicBezTo>
                  <a:pt x="115" y="28"/>
                  <a:pt x="115" y="28"/>
                  <a:pt x="115" y="28"/>
                </a:cubicBezTo>
                <a:cubicBezTo>
                  <a:pt x="115" y="28"/>
                  <a:pt x="114" y="28"/>
                  <a:pt x="114" y="27"/>
                </a:cubicBezTo>
                <a:cubicBezTo>
                  <a:pt x="114" y="27"/>
                  <a:pt x="114" y="27"/>
                  <a:pt x="114" y="27"/>
                </a:cubicBezTo>
                <a:cubicBezTo>
                  <a:pt x="113" y="27"/>
                  <a:pt x="113" y="27"/>
                  <a:pt x="113" y="26"/>
                </a:cubicBezTo>
                <a:cubicBezTo>
                  <a:pt x="113" y="26"/>
                  <a:pt x="113" y="26"/>
                  <a:pt x="113" y="26"/>
                </a:cubicBezTo>
                <a:cubicBezTo>
                  <a:pt x="112" y="26"/>
                  <a:pt x="112" y="25"/>
                  <a:pt x="111" y="25"/>
                </a:cubicBezTo>
                <a:cubicBezTo>
                  <a:pt x="111" y="25"/>
                  <a:pt x="111" y="25"/>
                  <a:pt x="111" y="25"/>
                </a:cubicBezTo>
                <a:cubicBezTo>
                  <a:pt x="110" y="24"/>
                  <a:pt x="110" y="24"/>
                  <a:pt x="110" y="24"/>
                </a:cubicBezTo>
                <a:cubicBezTo>
                  <a:pt x="110" y="24"/>
                  <a:pt x="110" y="24"/>
                  <a:pt x="109" y="24"/>
                </a:cubicBezTo>
                <a:cubicBezTo>
                  <a:pt x="109" y="23"/>
                  <a:pt x="109" y="23"/>
                  <a:pt x="109" y="23"/>
                </a:cubicBezTo>
                <a:cubicBezTo>
                  <a:pt x="108" y="23"/>
                  <a:pt x="108" y="23"/>
                  <a:pt x="108" y="23"/>
                </a:cubicBezTo>
                <a:cubicBezTo>
                  <a:pt x="108" y="23"/>
                  <a:pt x="108" y="22"/>
                  <a:pt x="107" y="22"/>
                </a:cubicBezTo>
                <a:cubicBezTo>
                  <a:pt x="107" y="22"/>
                  <a:pt x="107" y="22"/>
                  <a:pt x="107" y="22"/>
                </a:cubicBezTo>
                <a:cubicBezTo>
                  <a:pt x="106" y="21"/>
                  <a:pt x="105" y="21"/>
                  <a:pt x="104" y="20"/>
                </a:cubicBezTo>
                <a:cubicBezTo>
                  <a:pt x="104" y="20"/>
                  <a:pt x="104" y="20"/>
                  <a:pt x="103" y="20"/>
                </a:cubicBezTo>
                <a:cubicBezTo>
                  <a:pt x="103" y="20"/>
                  <a:pt x="103" y="20"/>
                  <a:pt x="102" y="19"/>
                </a:cubicBezTo>
                <a:cubicBezTo>
                  <a:pt x="102" y="19"/>
                  <a:pt x="102" y="19"/>
                  <a:pt x="102" y="19"/>
                </a:cubicBezTo>
                <a:cubicBezTo>
                  <a:pt x="102" y="19"/>
                  <a:pt x="101" y="19"/>
                  <a:pt x="101" y="19"/>
                </a:cubicBezTo>
                <a:cubicBezTo>
                  <a:pt x="101" y="19"/>
                  <a:pt x="101" y="19"/>
                  <a:pt x="101" y="19"/>
                </a:cubicBezTo>
                <a:cubicBezTo>
                  <a:pt x="100" y="18"/>
                  <a:pt x="99" y="18"/>
                  <a:pt x="97" y="18"/>
                </a:cubicBezTo>
                <a:cubicBezTo>
                  <a:pt x="92" y="7"/>
                  <a:pt x="81" y="1"/>
                  <a:pt x="65" y="7"/>
                </a:cubicBezTo>
                <a:cubicBezTo>
                  <a:pt x="40" y="0"/>
                  <a:pt x="27" y="21"/>
                  <a:pt x="25" y="47"/>
                </a:cubicBezTo>
                <a:cubicBezTo>
                  <a:pt x="20" y="107"/>
                  <a:pt x="65" y="124"/>
                  <a:pt x="48" y="147"/>
                </a:cubicBezTo>
                <a:cubicBezTo>
                  <a:pt x="39" y="148"/>
                  <a:pt x="25" y="147"/>
                  <a:pt x="18" y="150"/>
                </a:cubicBezTo>
                <a:cubicBezTo>
                  <a:pt x="14" y="152"/>
                  <a:pt x="10" y="157"/>
                  <a:pt x="9" y="161"/>
                </a:cubicBezTo>
                <a:cubicBezTo>
                  <a:pt x="8" y="164"/>
                  <a:pt x="7" y="176"/>
                  <a:pt x="6" y="187"/>
                </a:cubicBezTo>
                <a:cubicBezTo>
                  <a:pt x="1" y="254"/>
                  <a:pt x="1" y="254"/>
                  <a:pt x="1" y="254"/>
                </a:cubicBezTo>
                <a:cubicBezTo>
                  <a:pt x="1" y="258"/>
                  <a:pt x="1" y="260"/>
                  <a:pt x="1" y="261"/>
                </a:cubicBezTo>
                <a:cubicBezTo>
                  <a:pt x="1" y="263"/>
                  <a:pt x="1" y="265"/>
                  <a:pt x="0" y="269"/>
                </a:cubicBezTo>
                <a:cubicBezTo>
                  <a:pt x="12" y="354"/>
                  <a:pt x="12" y="354"/>
                  <a:pt x="12" y="354"/>
                </a:cubicBezTo>
                <a:cubicBezTo>
                  <a:pt x="12" y="354"/>
                  <a:pt x="12" y="354"/>
                  <a:pt x="12" y="354"/>
                </a:cubicBezTo>
                <a:cubicBezTo>
                  <a:pt x="12" y="354"/>
                  <a:pt x="12" y="354"/>
                  <a:pt x="12" y="354"/>
                </a:cubicBezTo>
                <a:cubicBezTo>
                  <a:pt x="9" y="377"/>
                  <a:pt x="9" y="377"/>
                  <a:pt x="9" y="377"/>
                </a:cubicBezTo>
                <a:cubicBezTo>
                  <a:pt x="17" y="410"/>
                  <a:pt x="17" y="410"/>
                  <a:pt x="17" y="410"/>
                </a:cubicBezTo>
                <a:cubicBezTo>
                  <a:pt x="19" y="410"/>
                  <a:pt x="19" y="410"/>
                  <a:pt x="19" y="410"/>
                </a:cubicBezTo>
                <a:cubicBezTo>
                  <a:pt x="21" y="457"/>
                  <a:pt x="29" y="516"/>
                  <a:pt x="30" y="537"/>
                </a:cubicBezTo>
                <a:cubicBezTo>
                  <a:pt x="41" y="537"/>
                  <a:pt x="41" y="537"/>
                  <a:pt x="41" y="537"/>
                </a:cubicBezTo>
                <a:cubicBezTo>
                  <a:pt x="39" y="574"/>
                  <a:pt x="39" y="574"/>
                  <a:pt x="39" y="574"/>
                </a:cubicBezTo>
                <a:cubicBezTo>
                  <a:pt x="55" y="689"/>
                  <a:pt x="55" y="689"/>
                  <a:pt x="55" y="689"/>
                </a:cubicBezTo>
                <a:cubicBezTo>
                  <a:pt x="56" y="689"/>
                  <a:pt x="56" y="689"/>
                  <a:pt x="56" y="689"/>
                </a:cubicBezTo>
                <a:cubicBezTo>
                  <a:pt x="50" y="715"/>
                  <a:pt x="50" y="715"/>
                  <a:pt x="50" y="715"/>
                </a:cubicBezTo>
                <a:cubicBezTo>
                  <a:pt x="47" y="732"/>
                  <a:pt x="47" y="732"/>
                  <a:pt x="47" y="732"/>
                </a:cubicBezTo>
                <a:cubicBezTo>
                  <a:pt x="49" y="735"/>
                  <a:pt x="49" y="735"/>
                  <a:pt x="49" y="735"/>
                </a:cubicBezTo>
                <a:cubicBezTo>
                  <a:pt x="53" y="742"/>
                  <a:pt x="53" y="742"/>
                  <a:pt x="53" y="742"/>
                </a:cubicBezTo>
                <a:cubicBezTo>
                  <a:pt x="74" y="742"/>
                  <a:pt x="74" y="742"/>
                  <a:pt x="74" y="742"/>
                </a:cubicBezTo>
                <a:cubicBezTo>
                  <a:pt x="79" y="739"/>
                  <a:pt x="79" y="739"/>
                  <a:pt x="79" y="739"/>
                </a:cubicBezTo>
                <a:cubicBezTo>
                  <a:pt x="84" y="742"/>
                  <a:pt x="84" y="742"/>
                  <a:pt x="84" y="742"/>
                </a:cubicBezTo>
                <a:cubicBezTo>
                  <a:pt x="105" y="741"/>
                  <a:pt x="105" y="741"/>
                  <a:pt x="105" y="741"/>
                </a:cubicBezTo>
                <a:cubicBezTo>
                  <a:pt x="111" y="732"/>
                  <a:pt x="111" y="732"/>
                  <a:pt x="111" y="732"/>
                </a:cubicBezTo>
                <a:cubicBezTo>
                  <a:pt x="108" y="718"/>
                  <a:pt x="108" y="718"/>
                  <a:pt x="108" y="718"/>
                </a:cubicBezTo>
                <a:cubicBezTo>
                  <a:pt x="102" y="689"/>
                  <a:pt x="102" y="689"/>
                  <a:pt x="102" y="689"/>
                </a:cubicBezTo>
                <a:cubicBezTo>
                  <a:pt x="118" y="574"/>
                  <a:pt x="118" y="574"/>
                  <a:pt x="118" y="574"/>
                </a:cubicBezTo>
                <a:cubicBezTo>
                  <a:pt x="117" y="537"/>
                  <a:pt x="117" y="537"/>
                  <a:pt x="117" y="537"/>
                </a:cubicBezTo>
                <a:cubicBezTo>
                  <a:pt x="127" y="537"/>
                  <a:pt x="127" y="537"/>
                  <a:pt x="127" y="537"/>
                </a:cubicBezTo>
                <a:cubicBezTo>
                  <a:pt x="130" y="511"/>
                  <a:pt x="140" y="438"/>
                  <a:pt x="140" y="389"/>
                </a:cubicBezTo>
                <a:cubicBezTo>
                  <a:pt x="140" y="386"/>
                  <a:pt x="140" y="386"/>
                  <a:pt x="140" y="386"/>
                </a:cubicBezTo>
                <a:cubicBezTo>
                  <a:pt x="140" y="381"/>
                  <a:pt x="140" y="381"/>
                  <a:pt x="140" y="381"/>
                </a:cubicBezTo>
                <a:cubicBezTo>
                  <a:pt x="139" y="367"/>
                  <a:pt x="138" y="354"/>
                  <a:pt x="135" y="347"/>
                </a:cubicBezTo>
                <a:cubicBezTo>
                  <a:pt x="120" y="314"/>
                  <a:pt x="120" y="314"/>
                  <a:pt x="120" y="314"/>
                </a:cubicBezTo>
                <a:cubicBezTo>
                  <a:pt x="139" y="310"/>
                  <a:pt x="139" y="310"/>
                  <a:pt x="139" y="310"/>
                </a:cubicBezTo>
                <a:cubicBezTo>
                  <a:pt x="144" y="309"/>
                  <a:pt x="147" y="305"/>
                  <a:pt x="146" y="300"/>
                </a:cubicBezTo>
                <a:cubicBezTo>
                  <a:pt x="141" y="275"/>
                  <a:pt x="141" y="275"/>
                  <a:pt x="141" y="275"/>
                </a:cubicBezTo>
                <a:cubicBezTo>
                  <a:pt x="158" y="271"/>
                  <a:pt x="158" y="271"/>
                  <a:pt x="158" y="271"/>
                </a:cubicBezTo>
                <a:cubicBezTo>
                  <a:pt x="168" y="267"/>
                  <a:pt x="166" y="269"/>
                  <a:pt x="165" y="258"/>
                </a:cubicBezTo>
                <a:close/>
                <a:moveTo>
                  <a:pt x="25" y="258"/>
                </a:moveTo>
                <a:cubicBezTo>
                  <a:pt x="30" y="234"/>
                  <a:pt x="30" y="234"/>
                  <a:pt x="30" y="234"/>
                </a:cubicBezTo>
                <a:cubicBezTo>
                  <a:pt x="31" y="235"/>
                  <a:pt x="32" y="236"/>
                  <a:pt x="33" y="236"/>
                </a:cubicBezTo>
                <a:cubicBezTo>
                  <a:pt x="45" y="298"/>
                  <a:pt x="45" y="298"/>
                  <a:pt x="45" y="298"/>
                </a:cubicBezTo>
                <a:cubicBezTo>
                  <a:pt x="26" y="340"/>
                  <a:pt x="26" y="340"/>
                  <a:pt x="26" y="340"/>
                </a:cubicBezTo>
                <a:lnTo>
                  <a:pt x="25" y="258"/>
                </a:lnTo>
                <a:close/>
                <a:moveTo>
                  <a:pt x="83" y="689"/>
                </a:moveTo>
                <a:cubicBezTo>
                  <a:pt x="79" y="719"/>
                  <a:pt x="79" y="719"/>
                  <a:pt x="79" y="719"/>
                </a:cubicBezTo>
                <a:cubicBezTo>
                  <a:pt x="79" y="718"/>
                  <a:pt x="79" y="718"/>
                  <a:pt x="79" y="718"/>
                </a:cubicBezTo>
                <a:cubicBezTo>
                  <a:pt x="79" y="720"/>
                  <a:pt x="79" y="720"/>
                  <a:pt x="79" y="720"/>
                </a:cubicBezTo>
                <a:cubicBezTo>
                  <a:pt x="75" y="689"/>
                  <a:pt x="75" y="689"/>
                  <a:pt x="75" y="689"/>
                </a:cubicBezTo>
                <a:cubicBezTo>
                  <a:pt x="76" y="567"/>
                  <a:pt x="76" y="567"/>
                  <a:pt x="76" y="567"/>
                </a:cubicBezTo>
                <a:cubicBezTo>
                  <a:pt x="76" y="537"/>
                  <a:pt x="76" y="537"/>
                  <a:pt x="76" y="537"/>
                </a:cubicBezTo>
                <a:cubicBezTo>
                  <a:pt x="82" y="537"/>
                  <a:pt x="82" y="537"/>
                  <a:pt x="82" y="537"/>
                </a:cubicBezTo>
                <a:cubicBezTo>
                  <a:pt x="82" y="567"/>
                  <a:pt x="82" y="567"/>
                  <a:pt x="82" y="567"/>
                </a:cubicBezTo>
                <a:lnTo>
                  <a:pt x="83" y="689"/>
                </a:lnTo>
                <a:close/>
                <a:moveTo>
                  <a:pt x="132" y="231"/>
                </a:moveTo>
                <a:cubicBezTo>
                  <a:pt x="138" y="252"/>
                  <a:pt x="138" y="252"/>
                  <a:pt x="138" y="252"/>
                </a:cubicBezTo>
                <a:cubicBezTo>
                  <a:pt x="136" y="252"/>
                  <a:pt x="136" y="252"/>
                  <a:pt x="136" y="252"/>
                </a:cubicBezTo>
                <a:lnTo>
                  <a:pt x="132" y="231"/>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67" name="Freeform 13"/>
          <p:cNvSpPr>
            <a:spLocks noEditPoints="1"/>
          </p:cNvSpPr>
          <p:nvPr/>
        </p:nvSpPr>
        <p:spPr bwMode="auto">
          <a:xfrm>
            <a:off x="5748100" y="2217905"/>
            <a:ext cx="740258" cy="2212491"/>
          </a:xfrm>
          <a:custGeom>
            <a:avLst/>
            <a:gdLst>
              <a:gd name="T0" fmla="*/ 235 w 253"/>
              <a:gd name="T1" fmla="*/ 166 h 754"/>
              <a:gd name="T2" fmla="*/ 232 w 253"/>
              <a:gd name="T3" fmla="*/ 149 h 754"/>
              <a:gd name="T4" fmla="*/ 228 w 253"/>
              <a:gd name="T5" fmla="*/ 136 h 754"/>
              <a:gd name="T6" fmla="*/ 188 w 253"/>
              <a:gd name="T7" fmla="*/ 122 h 754"/>
              <a:gd name="T8" fmla="*/ 166 w 253"/>
              <a:gd name="T9" fmla="*/ 119 h 754"/>
              <a:gd name="T10" fmla="*/ 161 w 253"/>
              <a:gd name="T11" fmla="*/ 91 h 754"/>
              <a:gd name="T12" fmla="*/ 169 w 253"/>
              <a:gd name="T13" fmla="*/ 68 h 754"/>
              <a:gd name="T14" fmla="*/ 171 w 253"/>
              <a:gd name="T15" fmla="*/ 47 h 754"/>
              <a:gd name="T16" fmla="*/ 167 w 253"/>
              <a:gd name="T17" fmla="*/ 49 h 754"/>
              <a:gd name="T18" fmla="*/ 99 w 253"/>
              <a:gd name="T19" fmla="*/ 48 h 754"/>
              <a:gd name="T20" fmla="*/ 95 w 253"/>
              <a:gd name="T21" fmla="*/ 48 h 754"/>
              <a:gd name="T22" fmla="*/ 98 w 253"/>
              <a:gd name="T23" fmla="*/ 67 h 754"/>
              <a:gd name="T24" fmla="*/ 105 w 253"/>
              <a:gd name="T25" fmla="*/ 91 h 754"/>
              <a:gd name="T26" fmla="*/ 103 w 253"/>
              <a:gd name="T27" fmla="*/ 116 h 754"/>
              <a:gd name="T28" fmla="*/ 80 w 253"/>
              <a:gd name="T29" fmla="*/ 119 h 754"/>
              <a:gd name="T30" fmla="*/ 29 w 253"/>
              <a:gd name="T31" fmla="*/ 153 h 754"/>
              <a:gd name="T32" fmla="*/ 16 w 253"/>
              <a:gd name="T33" fmla="*/ 267 h 754"/>
              <a:gd name="T34" fmla="*/ 29 w 253"/>
              <a:gd name="T35" fmla="*/ 310 h 754"/>
              <a:gd name="T36" fmla="*/ 58 w 253"/>
              <a:gd name="T37" fmla="*/ 330 h 754"/>
              <a:gd name="T38" fmla="*/ 65 w 253"/>
              <a:gd name="T39" fmla="*/ 360 h 754"/>
              <a:gd name="T40" fmla="*/ 73 w 253"/>
              <a:gd name="T41" fmla="*/ 554 h 754"/>
              <a:gd name="T42" fmla="*/ 76 w 253"/>
              <a:gd name="T43" fmla="*/ 724 h 754"/>
              <a:gd name="T44" fmla="*/ 66 w 253"/>
              <a:gd name="T45" fmla="*/ 753 h 754"/>
              <a:gd name="T46" fmla="*/ 120 w 253"/>
              <a:gd name="T47" fmla="*/ 754 h 754"/>
              <a:gd name="T48" fmla="*/ 120 w 253"/>
              <a:gd name="T49" fmla="*/ 754 h 754"/>
              <a:gd name="T50" fmla="*/ 114 w 253"/>
              <a:gd name="T51" fmla="*/ 724 h 754"/>
              <a:gd name="T52" fmla="*/ 132 w 253"/>
              <a:gd name="T53" fmla="*/ 413 h 754"/>
              <a:gd name="T54" fmla="*/ 143 w 253"/>
              <a:gd name="T55" fmla="*/ 551 h 754"/>
              <a:gd name="T56" fmla="*/ 150 w 253"/>
              <a:gd name="T57" fmla="*/ 726 h 754"/>
              <a:gd name="T58" fmla="*/ 146 w 253"/>
              <a:gd name="T59" fmla="*/ 754 h 754"/>
              <a:gd name="T60" fmla="*/ 201 w 253"/>
              <a:gd name="T61" fmla="*/ 754 h 754"/>
              <a:gd name="T62" fmla="*/ 189 w 253"/>
              <a:gd name="T63" fmla="*/ 724 h 754"/>
              <a:gd name="T64" fmla="*/ 193 w 253"/>
              <a:gd name="T65" fmla="*/ 599 h 754"/>
              <a:gd name="T66" fmla="*/ 199 w 253"/>
              <a:gd name="T67" fmla="*/ 417 h 754"/>
              <a:gd name="T68" fmla="*/ 228 w 253"/>
              <a:gd name="T69" fmla="*/ 371 h 754"/>
              <a:gd name="T70" fmla="*/ 230 w 253"/>
              <a:gd name="T71" fmla="*/ 368 h 754"/>
              <a:gd name="T72" fmla="*/ 231 w 253"/>
              <a:gd name="T73" fmla="*/ 362 h 754"/>
              <a:gd name="T74" fmla="*/ 251 w 253"/>
              <a:gd name="T75" fmla="*/ 269 h 754"/>
              <a:gd name="T76" fmla="*/ 250 w 253"/>
              <a:gd name="T77" fmla="*/ 244 h 754"/>
              <a:gd name="T78" fmla="*/ 209 w 253"/>
              <a:gd name="T79" fmla="*/ 257 h 754"/>
              <a:gd name="T80" fmla="*/ 200 w 253"/>
              <a:gd name="T81" fmla="*/ 353 h 754"/>
              <a:gd name="T82" fmla="*/ 45 w 253"/>
              <a:gd name="T83" fmla="*/ 238 h 754"/>
              <a:gd name="T84" fmla="*/ 56 w 253"/>
              <a:gd name="T85" fmla="*/ 216 h 754"/>
              <a:gd name="T86" fmla="*/ 45 w 253"/>
              <a:gd name="T87" fmla="*/ 238 h 754"/>
              <a:gd name="T88" fmla="*/ 201 w 253"/>
              <a:gd name="T89" fmla="*/ 394 h 754"/>
              <a:gd name="T90" fmla="*/ 204 w 253"/>
              <a:gd name="T91" fmla="*/ 395 h 754"/>
              <a:gd name="T92" fmla="*/ 200 w 253"/>
              <a:gd name="T93" fmla="*/ 368 h 754"/>
              <a:gd name="T94" fmla="*/ 202 w 253"/>
              <a:gd name="T95" fmla="*/ 366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3" h="754">
                <a:moveTo>
                  <a:pt x="250" y="244"/>
                </a:moveTo>
                <a:cubicBezTo>
                  <a:pt x="235" y="166"/>
                  <a:pt x="235" y="166"/>
                  <a:pt x="235" y="166"/>
                </a:cubicBezTo>
                <a:cubicBezTo>
                  <a:pt x="235" y="165"/>
                  <a:pt x="235" y="164"/>
                  <a:pt x="235" y="163"/>
                </a:cubicBezTo>
                <a:cubicBezTo>
                  <a:pt x="234" y="158"/>
                  <a:pt x="233" y="154"/>
                  <a:pt x="232" y="149"/>
                </a:cubicBezTo>
                <a:cubicBezTo>
                  <a:pt x="232" y="148"/>
                  <a:pt x="232" y="148"/>
                  <a:pt x="232" y="148"/>
                </a:cubicBezTo>
                <a:cubicBezTo>
                  <a:pt x="231" y="142"/>
                  <a:pt x="230" y="138"/>
                  <a:pt x="228" y="136"/>
                </a:cubicBezTo>
                <a:cubicBezTo>
                  <a:pt x="224" y="129"/>
                  <a:pt x="218" y="123"/>
                  <a:pt x="207" y="122"/>
                </a:cubicBezTo>
                <a:cubicBezTo>
                  <a:pt x="200" y="121"/>
                  <a:pt x="191" y="122"/>
                  <a:pt x="188" y="122"/>
                </a:cubicBezTo>
                <a:cubicBezTo>
                  <a:pt x="179" y="121"/>
                  <a:pt x="172" y="119"/>
                  <a:pt x="167" y="116"/>
                </a:cubicBezTo>
                <a:cubicBezTo>
                  <a:pt x="167" y="116"/>
                  <a:pt x="167" y="117"/>
                  <a:pt x="166" y="119"/>
                </a:cubicBezTo>
                <a:cubicBezTo>
                  <a:pt x="158" y="114"/>
                  <a:pt x="154" y="107"/>
                  <a:pt x="155" y="97"/>
                </a:cubicBezTo>
                <a:cubicBezTo>
                  <a:pt x="157" y="95"/>
                  <a:pt x="160" y="93"/>
                  <a:pt x="161" y="91"/>
                </a:cubicBezTo>
                <a:cubicBezTo>
                  <a:pt x="163" y="87"/>
                  <a:pt x="162" y="82"/>
                  <a:pt x="163" y="77"/>
                </a:cubicBezTo>
                <a:cubicBezTo>
                  <a:pt x="166" y="78"/>
                  <a:pt x="168" y="70"/>
                  <a:pt x="169" y="68"/>
                </a:cubicBezTo>
                <a:cubicBezTo>
                  <a:pt x="169" y="64"/>
                  <a:pt x="171" y="57"/>
                  <a:pt x="172" y="52"/>
                </a:cubicBezTo>
                <a:cubicBezTo>
                  <a:pt x="172" y="50"/>
                  <a:pt x="172" y="48"/>
                  <a:pt x="171" y="47"/>
                </a:cubicBezTo>
                <a:cubicBezTo>
                  <a:pt x="169" y="46"/>
                  <a:pt x="168" y="47"/>
                  <a:pt x="167" y="50"/>
                </a:cubicBezTo>
                <a:cubicBezTo>
                  <a:pt x="167" y="50"/>
                  <a:pt x="167" y="50"/>
                  <a:pt x="167" y="49"/>
                </a:cubicBezTo>
                <a:cubicBezTo>
                  <a:pt x="168" y="25"/>
                  <a:pt x="163" y="1"/>
                  <a:pt x="134" y="1"/>
                </a:cubicBezTo>
                <a:cubicBezTo>
                  <a:pt x="105" y="0"/>
                  <a:pt x="95" y="24"/>
                  <a:pt x="99" y="48"/>
                </a:cubicBezTo>
                <a:cubicBezTo>
                  <a:pt x="99" y="49"/>
                  <a:pt x="99" y="49"/>
                  <a:pt x="99" y="50"/>
                </a:cubicBezTo>
                <a:cubicBezTo>
                  <a:pt x="96" y="46"/>
                  <a:pt x="96" y="47"/>
                  <a:pt x="95" y="48"/>
                </a:cubicBezTo>
                <a:cubicBezTo>
                  <a:pt x="94" y="49"/>
                  <a:pt x="93" y="51"/>
                  <a:pt x="94" y="54"/>
                </a:cubicBezTo>
                <a:cubicBezTo>
                  <a:pt x="95" y="58"/>
                  <a:pt x="97" y="63"/>
                  <a:pt x="98" y="67"/>
                </a:cubicBezTo>
                <a:cubicBezTo>
                  <a:pt x="99" y="70"/>
                  <a:pt x="101" y="78"/>
                  <a:pt x="103" y="77"/>
                </a:cubicBezTo>
                <a:cubicBezTo>
                  <a:pt x="104" y="83"/>
                  <a:pt x="103" y="87"/>
                  <a:pt x="105" y="91"/>
                </a:cubicBezTo>
                <a:cubicBezTo>
                  <a:pt x="106" y="93"/>
                  <a:pt x="109" y="95"/>
                  <a:pt x="111" y="97"/>
                </a:cubicBezTo>
                <a:cubicBezTo>
                  <a:pt x="112" y="106"/>
                  <a:pt x="109" y="112"/>
                  <a:pt x="103" y="116"/>
                </a:cubicBezTo>
                <a:cubicBezTo>
                  <a:pt x="103" y="115"/>
                  <a:pt x="103" y="114"/>
                  <a:pt x="103" y="114"/>
                </a:cubicBezTo>
                <a:cubicBezTo>
                  <a:pt x="97" y="117"/>
                  <a:pt x="89" y="119"/>
                  <a:pt x="80" y="119"/>
                </a:cubicBezTo>
                <a:cubicBezTo>
                  <a:pt x="72" y="119"/>
                  <a:pt x="34" y="109"/>
                  <a:pt x="30" y="145"/>
                </a:cubicBezTo>
                <a:cubicBezTo>
                  <a:pt x="30" y="146"/>
                  <a:pt x="30" y="149"/>
                  <a:pt x="29" y="153"/>
                </a:cubicBezTo>
                <a:cubicBezTo>
                  <a:pt x="5" y="242"/>
                  <a:pt x="5" y="242"/>
                  <a:pt x="5" y="242"/>
                </a:cubicBezTo>
                <a:cubicBezTo>
                  <a:pt x="0" y="261"/>
                  <a:pt x="2" y="262"/>
                  <a:pt x="16" y="267"/>
                </a:cubicBezTo>
                <a:cubicBezTo>
                  <a:pt x="39" y="276"/>
                  <a:pt x="39" y="276"/>
                  <a:pt x="39" y="276"/>
                </a:cubicBezTo>
                <a:cubicBezTo>
                  <a:pt x="29" y="310"/>
                  <a:pt x="29" y="310"/>
                  <a:pt x="29" y="310"/>
                </a:cubicBezTo>
                <a:cubicBezTo>
                  <a:pt x="28" y="316"/>
                  <a:pt x="31" y="322"/>
                  <a:pt x="37" y="324"/>
                </a:cubicBezTo>
                <a:cubicBezTo>
                  <a:pt x="58" y="330"/>
                  <a:pt x="58" y="330"/>
                  <a:pt x="58" y="330"/>
                </a:cubicBezTo>
                <a:cubicBezTo>
                  <a:pt x="58" y="360"/>
                  <a:pt x="58" y="360"/>
                  <a:pt x="58" y="360"/>
                </a:cubicBezTo>
                <a:cubicBezTo>
                  <a:pt x="65" y="360"/>
                  <a:pt x="65" y="360"/>
                  <a:pt x="65" y="360"/>
                </a:cubicBezTo>
                <a:cubicBezTo>
                  <a:pt x="66" y="407"/>
                  <a:pt x="66" y="407"/>
                  <a:pt x="66" y="407"/>
                </a:cubicBezTo>
                <a:cubicBezTo>
                  <a:pt x="73" y="554"/>
                  <a:pt x="73" y="554"/>
                  <a:pt x="73" y="554"/>
                </a:cubicBezTo>
                <a:cubicBezTo>
                  <a:pt x="70" y="595"/>
                  <a:pt x="70" y="595"/>
                  <a:pt x="70" y="595"/>
                </a:cubicBezTo>
                <a:cubicBezTo>
                  <a:pt x="76" y="724"/>
                  <a:pt x="76" y="724"/>
                  <a:pt x="76" y="724"/>
                </a:cubicBezTo>
                <a:cubicBezTo>
                  <a:pt x="77" y="724"/>
                  <a:pt x="77" y="724"/>
                  <a:pt x="77" y="724"/>
                </a:cubicBezTo>
                <a:cubicBezTo>
                  <a:pt x="66" y="753"/>
                  <a:pt x="66" y="753"/>
                  <a:pt x="66" y="753"/>
                </a:cubicBezTo>
                <a:cubicBezTo>
                  <a:pt x="65" y="754"/>
                  <a:pt x="65" y="754"/>
                  <a:pt x="65" y="754"/>
                </a:cubicBezTo>
                <a:cubicBezTo>
                  <a:pt x="120" y="754"/>
                  <a:pt x="120" y="754"/>
                  <a:pt x="120" y="754"/>
                </a:cubicBezTo>
                <a:cubicBezTo>
                  <a:pt x="120" y="754"/>
                  <a:pt x="120" y="754"/>
                  <a:pt x="120" y="754"/>
                </a:cubicBezTo>
                <a:cubicBezTo>
                  <a:pt x="120" y="754"/>
                  <a:pt x="120" y="754"/>
                  <a:pt x="120" y="754"/>
                </a:cubicBezTo>
                <a:cubicBezTo>
                  <a:pt x="115" y="724"/>
                  <a:pt x="115" y="724"/>
                  <a:pt x="115" y="724"/>
                </a:cubicBezTo>
                <a:cubicBezTo>
                  <a:pt x="114" y="724"/>
                  <a:pt x="114" y="724"/>
                  <a:pt x="114" y="724"/>
                </a:cubicBezTo>
                <a:cubicBezTo>
                  <a:pt x="120" y="551"/>
                  <a:pt x="120" y="551"/>
                  <a:pt x="120" y="551"/>
                </a:cubicBezTo>
                <a:cubicBezTo>
                  <a:pt x="132" y="413"/>
                  <a:pt x="132" y="413"/>
                  <a:pt x="132" y="413"/>
                </a:cubicBezTo>
                <a:cubicBezTo>
                  <a:pt x="134" y="413"/>
                  <a:pt x="134" y="413"/>
                  <a:pt x="134" y="413"/>
                </a:cubicBezTo>
                <a:cubicBezTo>
                  <a:pt x="143" y="551"/>
                  <a:pt x="143" y="551"/>
                  <a:pt x="143" y="551"/>
                </a:cubicBezTo>
                <a:cubicBezTo>
                  <a:pt x="148" y="726"/>
                  <a:pt x="148" y="726"/>
                  <a:pt x="148" y="726"/>
                </a:cubicBezTo>
                <a:cubicBezTo>
                  <a:pt x="150" y="726"/>
                  <a:pt x="150" y="726"/>
                  <a:pt x="150" y="726"/>
                </a:cubicBezTo>
                <a:cubicBezTo>
                  <a:pt x="146" y="754"/>
                  <a:pt x="146" y="754"/>
                  <a:pt x="146" y="754"/>
                </a:cubicBezTo>
                <a:cubicBezTo>
                  <a:pt x="146" y="754"/>
                  <a:pt x="146" y="754"/>
                  <a:pt x="146" y="754"/>
                </a:cubicBezTo>
                <a:cubicBezTo>
                  <a:pt x="146" y="754"/>
                  <a:pt x="146" y="754"/>
                  <a:pt x="146" y="754"/>
                </a:cubicBezTo>
                <a:cubicBezTo>
                  <a:pt x="201" y="754"/>
                  <a:pt x="201" y="754"/>
                  <a:pt x="201" y="754"/>
                </a:cubicBezTo>
                <a:cubicBezTo>
                  <a:pt x="200" y="753"/>
                  <a:pt x="200" y="753"/>
                  <a:pt x="200" y="753"/>
                </a:cubicBezTo>
                <a:cubicBezTo>
                  <a:pt x="189" y="724"/>
                  <a:pt x="189" y="724"/>
                  <a:pt x="189" y="724"/>
                </a:cubicBezTo>
                <a:cubicBezTo>
                  <a:pt x="189" y="724"/>
                  <a:pt x="189" y="724"/>
                  <a:pt x="189" y="724"/>
                </a:cubicBezTo>
                <a:cubicBezTo>
                  <a:pt x="193" y="599"/>
                  <a:pt x="193" y="599"/>
                  <a:pt x="193" y="599"/>
                </a:cubicBezTo>
                <a:cubicBezTo>
                  <a:pt x="190" y="553"/>
                  <a:pt x="190" y="553"/>
                  <a:pt x="190" y="553"/>
                </a:cubicBezTo>
                <a:cubicBezTo>
                  <a:pt x="199" y="417"/>
                  <a:pt x="199" y="417"/>
                  <a:pt x="199" y="417"/>
                </a:cubicBezTo>
                <a:cubicBezTo>
                  <a:pt x="223" y="401"/>
                  <a:pt x="223" y="401"/>
                  <a:pt x="223" y="401"/>
                </a:cubicBezTo>
                <a:cubicBezTo>
                  <a:pt x="228" y="371"/>
                  <a:pt x="228" y="371"/>
                  <a:pt x="228" y="371"/>
                </a:cubicBezTo>
                <a:cubicBezTo>
                  <a:pt x="229" y="368"/>
                  <a:pt x="229" y="368"/>
                  <a:pt x="229" y="368"/>
                </a:cubicBezTo>
                <a:cubicBezTo>
                  <a:pt x="230" y="368"/>
                  <a:pt x="230" y="368"/>
                  <a:pt x="230" y="368"/>
                </a:cubicBezTo>
                <a:cubicBezTo>
                  <a:pt x="231" y="362"/>
                  <a:pt x="231" y="362"/>
                  <a:pt x="231" y="362"/>
                </a:cubicBezTo>
                <a:cubicBezTo>
                  <a:pt x="231" y="362"/>
                  <a:pt x="231" y="362"/>
                  <a:pt x="231" y="362"/>
                </a:cubicBezTo>
                <a:cubicBezTo>
                  <a:pt x="231" y="362"/>
                  <a:pt x="231" y="362"/>
                  <a:pt x="231" y="362"/>
                </a:cubicBezTo>
                <a:cubicBezTo>
                  <a:pt x="251" y="269"/>
                  <a:pt x="251" y="269"/>
                  <a:pt x="251" y="269"/>
                </a:cubicBezTo>
                <a:cubicBezTo>
                  <a:pt x="251" y="266"/>
                  <a:pt x="252" y="264"/>
                  <a:pt x="252" y="261"/>
                </a:cubicBezTo>
                <a:cubicBezTo>
                  <a:pt x="253" y="258"/>
                  <a:pt x="252" y="252"/>
                  <a:pt x="250" y="244"/>
                </a:cubicBezTo>
                <a:close/>
                <a:moveTo>
                  <a:pt x="205" y="238"/>
                </a:moveTo>
                <a:cubicBezTo>
                  <a:pt x="209" y="257"/>
                  <a:pt x="209" y="257"/>
                  <a:pt x="209" y="257"/>
                </a:cubicBezTo>
                <a:cubicBezTo>
                  <a:pt x="200" y="358"/>
                  <a:pt x="200" y="358"/>
                  <a:pt x="200" y="358"/>
                </a:cubicBezTo>
                <a:cubicBezTo>
                  <a:pt x="200" y="353"/>
                  <a:pt x="200" y="353"/>
                  <a:pt x="200" y="353"/>
                </a:cubicBezTo>
                <a:lnTo>
                  <a:pt x="205" y="238"/>
                </a:lnTo>
                <a:close/>
                <a:moveTo>
                  <a:pt x="45" y="238"/>
                </a:moveTo>
                <a:cubicBezTo>
                  <a:pt x="56" y="210"/>
                  <a:pt x="56" y="210"/>
                  <a:pt x="56" y="210"/>
                </a:cubicBezTo>
                <a:cubicBezTo>
                  <a:pt x="56" y="216"/>
                  <a:pt x="56" y="216"/>
                  <a:pt x="56" y="216"/>
                </a:cubicBezTo>
                <a:cubicBezTo>
                  <a:pt x="49" y="240"/>
                  <a:pt x="49" y="240"/>
                  <a:pt x="49" y="240"/>
                </a:cubicBezTo>
                <a:lnTo>
                  <a:pt x="45" y="238"/>
                </a:lnTo>
                <a:close/>
                <a:moveTo>
                  <a:pt x="201" y="398"/>
                </a:moveTo>
                <a:cubicBezTo>
                  <a:pt x="201" y="394"/>
                  <a:pt x="201" y="394"/>
                  <a:pt x="201" y="394"/>
                </a:cubicBezTo>
                <a:cubicBezTo>
                  <a:pt x="200" y="379"/>
                  <a:pt x="200" y="379"/>
                  <a:pt x="200" y="379"/>
                </a:cubicBezTo>
                <a:cubicBezTo>
                  <a:pt x="204" y="395"/>
                  <a:pt x="204" y="395"/>
                  <a:pt x="204" y="395"/>
                </a:cubicBezTo>
                <a:lnTo>
                  <a:pt x="201" y="398"/>
                </a:lnTo>
                <a:close/>
                <a:moveTo>
                  <a:pt x="200" y="368"/>
                </a:moveTo>
                <a:cubicBezTo>
                  <a:pt x="200" y="366"/>
                  <a:pt x="200" y="366"/>
                  <a:pt x="200" y="366"/>
                </a:cubicBezTo>
                <a:cubicBezTo>
                  <a:pt x="202" y="366"/>
                  <a:pt x="202" y="366"/>
                  <a:pt x="202" y="366"/>
                </a:cubicBezTo>
                <a:lnTo>
                  <a:pt x="200" y="368"/>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68" name="Freeform 14"/>
          <p:cNvSpPr>
            <a:spLocks noEditPoints="1"/>
          </p:cNvSpPr>
          <p:nvPr/>
        </p:nvSpPr>
        <p:spPr bwMode="auto">
          <a:xfrm>
            <a:off x="5096348" y="2157789"/>
            <a:ext cx="561731" cy="2450304"/>
          </a:xfrm>
          <a:custGeom>
            <a:avLst/>
            <a:gdLst>
              <a:gd name="T0" fmla="*/ 147 w 164"/>
              <a:gd name="T1" fmla="*/ 149 h 714"/>
              <a:gd name="T2" fmla="*/ 113 w 164"/>
              <a:gd name="T3" fmla="*/ 131 h 714"/>
              <a:gd name="T4" fmla="*/ 94 w 164"/>
              <a:gd name="T5" fmla="*/ 99 h 714"/>
              <a:gd name="T6" fmla="*/ 109 w 164"/>
              <a:gd name="T7" fmla="*/ 68 h 714"/>
              <a:gd name="T8" fmla="*/ 67 w 164"/>
              <a:gd name="T9" fmla="*/ 2 h 714"/>
              <a:gd name="T10" fmla="*/ 66 w 164"/>
              <a:gd name="T11" fmla="*/ 3 h 714"/>
              <a:gd name="T12" fmla="*/ 60 w 164"/>
              <a:gd name="T13" fmla="*/ 5 h 714"/>
              <a:gd name="T14" fmla="*/ 58 w 164"/>
              <a:gd name="T15" fmla="*/ 6 h 714"/>
              <a:gd name="T16" fmla="*/ 54 w 164"/>
              <a:gd name="T17" fmla="*/ 8 h 714"/>
              <a:gd name="T18" fmla="*/ 52 w 164"/>
              <a:gd name="T19" fmla="*/ 10 h 714"/>
              <a:gd name="T20" fmla="*/ 49 w 164"/>
              <a:gd name="T21" fmla="*/ 12 h 714"/>
              <a:gd name="T22" fmla="*/ 48 w 164"/>
              <a:gd name="T23" fmla="*/ 13 h 714"/>
              <a:gd name="T24" fmla="*/ 46 w 164"/>
              <a:gd name="T25" fmla="*/ 15 h 714"/>
              <a:gd name="T26" fmla="*/ 44 w 164"/>
              <a:gd name="T27" fmla="*/ 17 h 714"/>
              <a:gd name="T28" fmla="*/ 43 w 164"/>
              <a:gd name="T29" fmla="*/ 19 h 714"/>
              <a:gd name="T30" fmla="*/ 41 w 164"/>
              <a:gd name="T31" fmla="*/ 21 h 714"/>
              <a:gd name="T32" fmla="*/ 40 w 164"/>
              <a:gd name="T33" fmla="*/ 23 h 714"/>
              <a:gd name="T34" fmla="*/ 39 w 164"/>
              <a:gd name="T35" fmla="*/ 26 h 714"/>
              <a:gd name="T36" fmla="*/ 38 w 164"/>
              <a:gd name="T37" fmla="*/ 28 h 714"/>
              <a:gd name="T38" fmla="*/ 37 w 164"/>
              <a:gd name="T39" fmla="*/ 31 h 714"/>
              <a:gd name="T40" fmla="*/ 36 w 164"/>
              <a:gd name="T41" fmla="*/ 33 h 714"/>
              <a:gd name="T42" fmla="*/ 36 w 164"/>
              <a:gd name="T43" fmla="*/ 36 h 714"/>
              <a:gd name="T44" fmla="*/ 36 w 164"/>
              <a:gd name="T45" fmla="*/ 38 h 714"/>
              <a:gd name="T46" fmla="*/ 36 w 164"/>
              <a:gd name="T47" fmla="*/ 42 h 714"/>
              <a:gd name="T48" fmla="*/ 36 w 164"/>
              <a:gd name="T49" fmla="*/ 44 h 714"/>
              <a:gd name="T50" fmla="*/ 36 w 164"/>
              <a:gd name="T51" fmla="*/ 48 h 714"/>
              <a:gd name="T52" fmla="*/ 37 w 164"/>
              <a:gd name="T53" fmla="*/ 51 h 714"/>
              <a:gd name="T54" fmla="*/ 38 w 164"/>
              <a:gd name="T55" fmla="*/ 54 h 714"/>
              <a:gd name="T56" fmla="*/ 39 w 164"/>
              <a:gd name="T57" fmla="*/ 56 h 714"/>
              <a:gd name="T58" fmla="*/ 40 w 164"/>
              <a:gd name="T59" fmla="*/ 60 h 714"/>
              <a:gd name="T60" fmla="*/ 42 w 164"/>
              <a:gd name="T61" fmla="*/ 63 h 714"/>
              <a:gd name="T62" fmla="*/ 44 w 164"/>
              <a:gd name="T63" fmla="*/ 67 h 714"/>
              <a:gd name="T64" fmla="*/ 63 w 164"/>
              <a:gd name="T65" fmla="*/ 100 h 714"/>
              <a:gd name="T66" fmla="*/ 49 w 164"/>
              <a:gd name="T67" fmla="*/ 130 h 714"/>
              <a:gd name="T68" fmla="*/ 6 w 164"/>
              <a:gd name="T69" fmla="*/ 169 h 714"/>
              <a:gd name="T70" fmla="*/ 0 w 164"/>
              <a:gd name="T71" fmla="*/ 250 h 714"/>
              <a:gd name="T72" fmla="*/ 12 w 164"/>
              <a:gd name="T73" fmla="*/ 333 h 714"/>
              <a:gd name="T74" fmla="*/ 20 w 164"/>
              <a:gd name="T75" fmla="*/ 387 h 714"/>
              <a:gd name="T76" fmla="*/ 52 w 164"/>
              <a:gd name="T77" fmla="*/ 662 h 714"/>
              <a:gd name="T78" fmla="*/ 49 w 164"/>
              <a:gd name="T79" fmla="*/ 687 h 714"/>
              <a:gd name="T80" fmla="*/ 52 w 164"/>
              <a:gd name="T81" fmla="*/ 714 h 714"/>
              <a:gd name="T82" fmla="*/ 82 w 164"/>
              <a:gd name="T83" fmla="*/ 714 h 714"/>
              <a:gd name="T84" fmla="*/ 106 w 164"/>
              <a:gd name="T85" fmla="*/ 691 h 714"/>
              <a:gd name="T86" fmla="*/ 116 w 164"/>
              <a:gd name="T87" fmla="*/ 549 h 714"/>
              <a:gd name="T88" fmla="*/ 136 w 164"/>
              <a:gd name="T89" fmla="*/ 354 h 714"/>
              <a:gd name="T90" fmla="*/ 131 w 164"/>
              <a:gd name="T91" fmla="*/ 326 h 714"/>
              <a:gd name="T92" fmla="*/ 143 w 164"/>
              <a:gd name="T93" fmla="*/ 280 h 714"/>
              <a:gd name="T94" fmla="*/ 162 w 164"/>
              <a:gd name="T95" fmla="*/ 239 h 714"/>
              <a:gd name="T96" fmla="*/ 24 w 164"/>
              <a:gd name="T97" fmla="*/ 240 h 714"/>
              <a:gd name="T98" fmla="*/ 24 w 164"/>
              <a:gd name="T99" fmla="*/ 240 h 714"/>
              <a:gd name="T100" fmla="*/ 135 w 164"/>
              <a:gd name="T101" fmla="*/ 233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4" h="714">
                <a:moveTo>
                  <a:pt x="162" y="239"/>
                </a:moveTo>
                <a:cubicBezTo>
                  <a:pt x="148" y="148"/>
                  <a:pt x="148" y="148"/>
                  <a:pt x="148" y="148"/>
                </a:cubicBezTo>
                <a:cubicBezTo>
                  <a:pt x="147" y="149"/>
                  <a:pt x="147" y="149"/>
                  <a:pt x="147" y="149"/>
                </a:cubicBezTo>
                <a:cubicBezTo>
                  <a:pt x="147" y="146"/>
                  <a:pt x="146" y="145"/>
                  <a:pt x="146" y="144"/>
                </a:cubicBezTo>
                <a:cubicBezTo>
                  <a:pt x="143" y="135"/>
                  <a:pt x="137" y="133"/>
                  <a:pt x="128" y="133"/>
                </a:cubicBezTo>
                <a:cubicBezTo>
                  <a:pt x="125" y="132"/>
                  <a:pt x="118" y="132"/>
                  <a:pt x="113" y="131"/>
                </a:cubicBezTo>
                <a:cubicBezTo>
                  <a:pt x="112" y="131"/>
                  <a:pt x="111" y="131"/>
                  <a:pt x="110" y="131"/>
                </a:cubicBezTo>
                <a:cubicBezTo>
                  <a:pt x="105" y="130"/>
                  <a:pt x="100" y="129"/>
                  <a:pt x="99" y="127"/>
                </a:cubicBezTo>
                <a:cubicBezTo>
                  <a:pt x="95" y="122"/>
                  <a:pt x="92" y="111"/>
                  <a:pt x="94" y="99"/>
                </a:cubicBezTo>
                <a:cubicBezTo>
                  <a:pt x="96" y="97"/>
                  <a:pt x="98" y="95"/>
                  <a:pt x="100" y="92"/>
                </a:cubicBezTo>
                <a:cubicBezTo>
                  <a:pt x="104" y="86"/>
                  <a:pt x="106" y="80"/>
                  <a:pt x="109" y="69"/>
                </a:cubicBezTo>
                <a:cubicBezTo>
                  <a:pt x="109" y="69"/>
                  <a:pt x="109" y="69"/>
                  <a:pt x="109" y="68"/>
                </a:cubicBezTo>
                <a:cubicBezTo>
                  <a:pt x="114" y="59"/>
                  <a:pt x="114" y="52"/>
                  <a:pt x="116" y="48"/>
                </a:cubicBezTo>
                <a:cubicBezTo>
                  <a:pt x="119" y="41"/>
                  <a:pt x="118" y="18"/>
                  <a:pt x="99" y="10"/>
                </a:cubicBezTo>
                <a:cubicBezTo>
                  <a:pt x="90" y="2"/>
                  <a:pt x="78" y="0"/>
                  <a:pt x="67" y="2"/>
                </a:cubicBezTo>
                <a:cubicBezTo>
                  <a:pt x="67" y="2"/>
                  <a:pt x="67" y="2"/>
                  <a:pt x="67" y="2"/>
                </a:cubicBezTo>
                <a:cubicBezTo>
                  <a:pt x="67" y="3"/>
                  <a:pt x="66" y="3"/>
                  <a:pt x="66" y="3"/>
                </a:cubicBezTo>
                <a:cubicBezTo>
                  <a:pt x="66" y="3"/>
                  <a:pt x="66" y="3"/>
                  <a:pt x="66" y="3"/>
                </a:cubicBezTo>
                <a:cubicBezTo>
                  <a:pt x="64" y="3"/>
                  <a:pt x="63" y="4"/>
                  <a:pt x="61" y="5"/>
                </a:cubicBezTo>
                <a:cubicBezTo>
                  <a:pt x="61" y="5"/>
                  <a:pt x="61" y="5"/>
                  <a:pt x="61" y="5"/>
                </a:cubicBezTo>
                <a:cubicBezTo>
                  <a:pt x="60" y="5"/>
                  <a:pt x="60" y="5"/>
                  <a:pt x="60" y="5"/>
                </a:cubicBezTo>
                <a:cubicBezTo>
                  <a:pt x="60" y="5"/>
                  <a:pt x="59" y="5"/>
                  <a:pt x="59" y="5"/>
                </a:cubicBezTo>
                <a:cubicBezTo>
                  <a:pt x="59" y="5"/>
                  <a:pt x="59" y="6"/>
                  <a:pt x="58" y="6"/>
                </a:cubicBezTo>
                <a:cubicBezTo>
                  <a:pt x="58" y="6"/>
                  <a:pt x="58" y="6"/>
                  <a:pt x="58" y="6"/>
                </a:cubicBezTo>
                <a:cubicBezTo>
                  <a:pt x="57" y="6"/>
                  <a:pt x="56" y="7"/>
                  <a:pt x="55" y="8"/>
                </a:cubicBezTo>
                <a:cubicBezTo>
                  <a:pt x="55" y="8"/>
                  <a:pt x="55" y="8"/>
                  <a:pt x="55" y="8"/>
                </a:cubicBezTo>
                <a:cubicBezTo>
                  <a:pt x="54" y="8"/>
                  <a:pt x="53" y="8"/>
                  <a:pt x="54" y="8"/>
                </a:cubicBezTo>
                <a:cubicBezTo>
                  <a:pt x="54" y="9"/>
                  <a:pt x="53" y="9"/>
                  <a:pt x="53" y="9"/>
                </a:cubicBezTo>
                <a:cubicBezTo>
                  <a:pt x="53" y="9"/>
                  <a:pt x="53" y="9"/>
                  <a:pt x="52" y="9"/>
                </a:cubicBezTo>
                <a:cubicBezTo>
                  <a:pt x="52" y="9"/>
                  <a:pt x="52" y="10"/>
                  <a:pt x="52" y="10"/>
                </a:cubicBezTo>
                <a:cubicBezTo>
                  <a:pt x="52" y="10"/>
                  <a:pt x="51" y="10"/>
                  <a:pt x="51" y="10"/>
                </a:cubicBezTo>
                <a:cubicBezTo>
                  <a:pt x="51" y="10"/>
                  <a:pt x="51" y="10"/>
                  <a:pt x="51" y="11"/>
                </a:cubicBezTo>
                <a:cubicBezTo>
                  <a:pt x="50" y="11"/>
                  <a:pt x="50" y="11"/>
                  <a:pt x="49" y="12"/>
                </a:cubicBezTo>
                <a:cubicBezTo>
                  <a:pt x="49" y="12"/>
                  <a:pt x="49" y="12"/>
                  <a:pt x="49" y="12"/>
                </a:cubicBezTo>
                <a:cubicBezTo>
                  <a:pt x="49" y="12"/>
                  <a:pt x="49" y="12"/>
                  <a:pt x="48" y="13"/>
                </a:cubicBezTo>
                <a:cubicBezTo>
                  <a:pt x="48" y="13"/>
                  <a:pt x="48" y="13"/>
                  <a:pt x="48" y="13"/>
                </a:cubicBezTo>
                <a:cubicBezTo>
                  <a:pt x="48" y="13"/>
                  <a:pt x="47" y="13"/>
                  <a:pt x="47" y="14"/>
                </a:cubicBezTo>
                <a:cubicBezTo>
                  <a:pt x="47" y="14"/>
                  <a:pt x="47" y="14"/>
                  <a:pt x="47" y="14"/>
                </a:cubicBezTo>
                <a:cubicBezTo>
                  <a:pt x="46" y="14"/>
                  <a:pt x="46" y="15"/>
                  <a:pt x="46" y="15"/>
                </a:cubicBezTo>
                <a:cubicBezTo>
                  <a:pt x="46" y="15"/>
                  <a:pt x="46" y="15"/>
                  <a:pt x="46" y="15"/>
                </a:cubicBezTo>
                <a:cubicBezTo>
                  <a:pt x="45" y="16"/>
                  <a:pt x="45" y="16"/>
                  <a:pt x="45" y="16"/>
                </a:cubicBezTo>
                <a:cubicBezTo>
                  <a:pt x="45" y="16"/>
                  <a:pt x="45" y="17"/>
                  <a:pt x="44" y="17"/>
                </a:cubicBezTo>
                <a:cubicBezTo>
                  <a:pt x="44" y="17"/>
                  <a:pt x="44" y="17"/>
                  <a:pt x="44" y="18"/>
                </a:cubicBezTo>
                <a:cubicBezTo>
                  <a:pt x="44" y="18"/>
                  <a:pt x="43" y="18"/>
                  <a:pt x="43" y="18"/>
                </a:cubicBezTo>
                <a:cubicBezTo>
                  <a:pt x="43" y="19"/>
                  <a:pt x="43" y="19"/>
                  <a:pt x="43" y="19"/>
                </a:cubicBezTo>
                <a:cubicBezTo>
                  <a:pt x="43" y="19"/>
                  <a:pt x="42" y="19"/>
                  <a:pt x="42" y="20"/>
                </a:cubicBezTo>
                <a:cubicBezTo>
                  <a:pt x="42" y="20"/>
                  <a:pt x="42" y="20"/>
                  <a:pt x="42" y="20"/>
                </a:cubicBezTo>
                <a:cubicBezTo>
                  <a:pt x="42" y="20"/>
                  <a:pt x="41" y="21"/>
                  <a:pt x="41" y="21"/>
                </a:cubicBezTo>
                <a:cubicBezTo>
                  <a:pt x="41" y="21"/>
                  <a:pt x="41" y="21"/>
                  <a:pt x="41" y="22"/>
                </a:cubicBezTo>
                <a:cubicBezTo>
                  <a:pt x="41" y="22"/>
                  <a:pt x="41" y="22"/>
                  <a:pt x="40" y="23"/>
                </a:cubicBezTo>
                <a:cubicBezTo>
                  <a:pt x="40" y="23"/>
                  <a:pt x="40" y="23"/>
                  <a:pt x="40" y="23"/>
                </a:cubicBezTo>
                <a:cubicBezTo>
                  <a:pt x="40" y="23"/>
                  <a:pt x="40" y="24"/>
                  <a:pt x="39" y="24"/>
                </a:cubicBezTo>
                <a:cubicBezTo>
                  <a:pt x="39" y="24"/>
                  <a:pt x="39" y="25"/>
                  <a:pt x="39" y="25"/>
                </a:cubicBezTo>
                <a:cubicBezTo>
                  <a:pt x="39" y="25"/>
                  <a:pt x="39" y="25"/>
                  <a:pt x="39" y="26"/>
                </a:cubicBezTo>
                <a:cubicBezTo>
                  <a:pt x="39" y="26"/>
                  <a:pt x="39" y="26"/>
                  <a:pt x="39" y="26"/>
                </a:cubicBezTo>
                <a:cubicBezTo>
                  <a:pt x="38" y="27"/>
                  <a:pt x="38" y="27"/>
                  <a:pt x="38" y="27"/>
                </a:cubicBezTo>
                <a:cubicBezTo>
                  <a:pt x="38" y="27"/>
                  <a:pt x="38" y="28"/>
                  <a:pt x="38" y="28"/>
                </a:cubicBezTo>
                <a:cubicBezTo>
                  <a:pt x="38" y="28"/>
                  <a:pt x="38" y="29"/>
                  <a:pt x="38" y="29"/>
                </a:cubicBezTo>
                <a:cubicBezTo>
                  <a:pt x="37" y="29"/>
                  <a:pt x="37" y="29"/>
                  <a:pt x="37" y="29"/>
                </a:cubicBezTo>
                <a:cubicBezTo>
                  <a:pt x="37" y="30"/>
                  <a:pt x="37" y="30"/>
                  <a:pt x="37" y="31"/>
                </a:cubicBezTo>
                <a:cubicBezTo>
                  <a:pt x="37" y="31"/>
                  <a:pt x="37" y="31"/>
                  <a:pt x="37" y="31"/>
                </a:cubicBezTo>
                <a:cubicBezTo>
                  <a:pt x="37" y="32"/>
                  <a:pt x="37" y="32"/>
                  <a:pt x="37" y="33"/>
                </a:cubicBezTo>
                <a:cubicBezTo>
                  <a:pt x="36" y="33"/>
                  <a:pt x="36" y="33"/>
                  <a:pt x="36" y="33"/>
                </a:cubicBezTo>
                <a:cubicBezTo>
                  <a:pt x="36" y="34"/>
                  <a:pt x="36" y="34"/>
                  <a:pt x="36" y="34"/>
                </a:cubicBezTo>
                <a:cubicBezTo>
                  <a:pt x="36" y="34"/>
                  <a:pt x="36" y="35"/>
                  <a:pt x="36" y="35"/>
                </a:cubicBezTo>
                <a:cubicBezTo>
                  <a:pt x="36" y="35"/>
                  <a:pt x="36" y="36"/>
                  <a:pt x="36" y="36"/>
                </a:cubicBezTo>
                <a:cubicBezTo>
                  <a:pt x="36" y="36"/>
                  <a:pt x="36" y="36"/>
                  <a:pt x="36" y="37"/>
                </a:cubicBezTo>
                <a:cubicBezTo>
                  <a:pt x="36" y="37"/>
                  <a:pt x="36" y="37"/>
                  <a:pt x="36" y="38"/>
                </a:cubicBezTo>
                <a:cubicBezTo>
                  <a:pt x="36" y="38"/>
                  <a:pt x="36" y="38"/>
                  <a:pt x="36" y="38"/>
                </a:cubicBezTo>
                <a:cubicBezTo>
                  <a:pt x="36" y="39"/>
                  <a:pt x="36" y="39"/>
                  <a:pt x="36" y="40"/>
                </a:cubicBezTo>
                <a:cubicBezTo>
                  <a:pt x="36" y="40"/>
                  <a:pt x="36" y="40"/>
                  <a:pt x="36" y="40"/>
                </a:cubicBezTo>
                <a:cubicBezTo>
                  <a:pt x="36" y="41"/>
                  <a:pt x="36" y="41"/>
                  <a:pt x="36" y="42"/>
                </a:cubicBezTo>
                <a:cubicBezTo>
                  <a:pt x="36" y="42"/>
                  <a:pt x="36" y="42"/>
                  <a:pt x="36" y="42"/>
                </a:cubicBezTo>
                <a:cubicBezTo>
                  <a:pt x="36" y="43"/>
                  <a:pt x="36" y="43"/>
                  <a:pt x="36" y="44"/>
                </a:cubicBezTo>
                <a:cubicBezTo>
                  <a:pt x="36" y="44"/>
                  <a:pt x="36" y="44"/>
                  <a:pt x="36" y="44"/>
                </a:cubicBezTo>
                <a:cubicBezTo>
                  <a:pt x="36" y="45"/>
                  <a:pt x="36" y="45"/>
                  <a:pt x="36" y="46"/>
                </a:cubicBezTo>
                <a:cubicBezTo>
                  <a:pt x="36" y="46"/>
                  <a:pt x="36" y="46"/>
                  <a:pt x="36" y="46"/>
                </a:cubicBezTo>
                <a:cubicBezTo>
                  <a:pt x="36" y="47"/>
                  <a:pt x="36" y="47"/>
                  <a:pt x="36" y="48"/>
                </a:cubicBezTo>
                <a:cubicBezTo>
                  <a:pt x="36" y="48"/>
                  <a:pt x="36" y="48"/>
                  <a:pt x="36" y="48"/>
                </a:cubicBezTo>
                <a:cubicBezTo>
                  <a:pt x="36" y="49"/>
                  <a:pt x="36" y="49"/>
                  <a:pt x="37" y="50"/>
                </a:cubicBezTo>
                <a:cubicBezTo>
                  <a:pt x="37" y="50"/>
                  <a:pt x="37" y="50"/>
                  <a:pt x="37" y="51"/>
                </a:cubicBezTo>
                <a:cubicBezTo>
                  <a:pt x="37" y="51"/>
                  <a:pt x="37" y="51"/>
                  <a:pt x="37" y="52"/>
                </a:cubicBezTo>
                <a:cubicBezTo>
                  <a:pt x="37" y="52"/>
                  <a:pt x="37" y="52"/>
                  <a:pt x="37" y="53"/>
                </a:cubicBezTo>
                <a:cubicBezTo>
                  <a:pt x="37" y="53"/>
                  <a:pt x="38" y="53"/>
                  <a:pt x="38" y="54"/>
                </a:cubicBezTo>
                <a:cubicBezTo>
                  <a:pt x="38" y="54"/>
                  <a:pt x="38" y="54"/>
                  <a:pt x="38" y="55"/>
                </a:cubicBezTo>
                <a:cubicBezTo>
                  <a:pt x="38" y="55"/>
                  <a:pt x="38" y="56"/>
                  <a:pt x="38" y="56"/>
                </a:cubicBezTo>
                <a:cubicBezTo>
                  <a:pt x="38" y="56"/>
                  <a:pt x="39" y="56"/>
                  <a:pt x="39" y="56"/>
                </a:cubicBezTo>
                <a:cubicBezTo>
                  <a:pt x="39" y="57"/>
                  <a:pt x="39" y="58"/>
                  <a:pt x="39" y="58"/>
                </a:cubicBezTo>
                <a:cubicBezTo>
                  <a:pt x="39" y="59"/>
                  <a:pt x="40" y="59"/>
                  <a:pt x="40" y="59"/>
                </a:cubicBezTo>
                <a:cubicBezTo>
                  <a:pt x="40" y="59"/>
                  <a:pt x="40" y="60"/>
                  <a:pt x="40" y="60"/>
                </a:cubicBezTo>
                <a:cubicBezTo>
                  <a:pt x="40" y="61"/>
                  <a:pt x="40" y="61"/>
                  <a:pt x="41" y="61"/>
                </a:cubicBezTo>
                <a:cubicBezTo>
                  <a:pt x="41" y="62"/>
                  <a:pt x="41" y="62"/>
                  <a:pt x="41" y="63"/>
                </a:cubicBezTo>
                <a:cubicBezTo>
                  <a:pt x="41" y="63"/>
                  <a:pt x="42" y="63"/>
                  <a:pt x="42" y="63"/>
                </a:cubicBezTo>
                <a:cubicBezTo>
                  <a:pt x="42" y="64"/>
                  <a:pt x="42" y="64"/>
                  <a:pt x="42" y="65"/>
                </a:cubicBezTo>
                <a:cubicBezTo>
                  <a:pt x="43" y="65"/>
                  <a:pt x="43" y="65"/>
                  <a:pt x="43" y="65"/>
                </a:cubicBezTo>
                <a:cubicBezTo>
                  <a:pt x="43" y="66"/>
                  <a:pt x="44" y="67"/>
                  <a:pt x="44" y="67"/>
                </a:cubicBezTo>
                <a:cubicBezTo>
                  <a:pt x="44" y="70"/>
                  <a:pt x="47" y="75"/>
                  <a:pt x="50" y="80"/>
                </a:cubicBezTo>
                <a:cubicBezTo>
                  <a:pt x="51" y="83"/>
                  <a:pt x="53" y="87"/>
                  <a:pt x="55" y="90"/>
                </a:cubicBezTo>
                <a:cubicBezTo>
                  <a:pt x="58" y="94"/>
                  <a:pt x="60" y="97"/>
                  <a:pt x="63" y="100"/>
                </a:cubicBezTo>
                <a:cubicBezTo>
                  <a:pt x="63" y="116"/>
                  <a:pt x="64" y="125"/>
                  <a:pt x="53" y="129"/>
                </a:cubicBezTo>
                <a:cubicBezTo>
                  <a:pt x="52" y="130"/>
                  <a:pt x="51" y="130"/>
                  <a:pt x="50" y="130"/>
                </a:cubicBezTo>
                <a:cubicBezTo>
                  <a:pt x="49" y="130"/>
                  <a:pt x="49" y="130"/>
                  <a:pt x="49" y="130"/>
                </a:cubicBezTo>
                <a:cubicBezTo>
                  <a:pt x="40" y="131"/>
                  <a:pt x="25" y="130"/>
                  <a:pt x="17" y="134"/>
                </a:cubicBezTo>
                <a:cubicBezTo>
                  <a:pt x="14" y="136"/>
                  <a:pt x="9" y="140"/>
                  <a:pt x="8" y="144"/>
                </a:cubicBezTo>
                <a:cubicBezTo>
                  <a:pt x="7" y="148"/>
                  <a:pt x="7" y="158"/>
                  <a:pt x="6" y="169"/>
                </a:cubicBezTo>
                <a:cubicBezTo>
                  <a:pt x="1" y="235"/>
                  <a:pt x="1" y="235"/>
                  <a:pt x="1" y="235"/>
                </a:cubicBezTo>
                <a:cubicBezTo>
                  <a:pt x="1" y="239"/>
                  <a:pt x="1" y="241"/>
                  <a:pt x="1" y="243"/>
                </a:cubicBezTo>
                <a:cubicBezTo>
                  <a:pt x="1" y="244"/>
                  <a:pt x="1" y="246"/>
                  <a:pt x="0" y="250"/>
                </a:cubicBezTo>
                <a:cubicBezTo>
                  <a:pt x="11" y="333"/>
                  <a:pt x="11" y="333"/>
                  <a:pt x="11" y="333"/>
                </a:cubicBezTo>
                <a:cubicBezTo>
                  <a:pt x="12" y="333"/>
                  <a:pt x="12" y="333"/>
                  <a:pt x="12" y="333"/>
                </a:cubicBezTo>
                <a:cubicBezTo>
                  <a:pt x="12" y="333"/>
                  <a:pt x="12" y="333"/>
                  <a:pt x="12" y="333"/>
                </a:cubicBezTo>
                <a:cubicBezTo>
                  <a:pt x="9" y="356"/>
                  <a:pt x="9" y="356"/>
                  <a:pt x="9" y="356"/>
                </a:cubicBezTo>
                <a:cubicBezTo>
                  <a:pt x="17" y="388"/>
                  <a:pt x="17" y="388"/>
                  <a:pt x="17" y="388"/>
                </a:cubicBezTo>
                <a:cubicBezTo>
                  <a:pt x="20" y="387"/>
                  <a:pt x="20" y="387"/>
                  <a:pt x="20" y="387"/>
                </a:cubicBezTo>
                <a:cubicBezTo>
                  <a:pt x="37" y="503"/>
                  <a:pt x="37" y="503"/>
                  <a:pt x="37" y="503"/>
                </a:cubicBezTo>
                <a:cubicBezTo>
                  <a:pt x="39" y="549"/>
                  <a:pt x="39" y="549"/>
                  <a:pt x="39" y="549"/>
                </a:cubicBezTo>
                <a:cubicBezTo>
                  <a:pt x="52" y="662"/>
                  <a:pt x="52" y="662"/>
                  <a:pt x="52" y="662"/>
                </a:cubicBezTo>
                <a:cubicBezTo>
                  <a:pt x="54" y="662"/>
                  <a:pt x="54" y="662"/>
                  <a:pt x="54" y="662"/>
                </a:cubicBezTo>
                <a:cubicBezTo>
                  <a:pt x="54" y="663"/>
                  <a:pt x="54" y="663"/>
                  <a:pt x="54" y="663"/>
                </a:cubicBezTo>
                <a:cubicBezTo>
                  <a:pt x="49" y="687"/>
                  <a:pt x="49" y="687"/>
                  <a:pt x="49" y="687"/>
                </a:cubicBezTo>
                <a:cubicBezTo>
                  <a:pt x="46" y="705"/>
                  <a:pt x="46" y="705"/>
                  <a:pt x="46" y="705"/>
                </a:cubicBezTo>
                <a:cubicBezTo>
                  <a:pt x="48" y="707"/>
                  <a:pt x="48" y="707"/>
                  <a:pt x="48" y="707"/>
                </a:cubicBezTo>
                <a:cubicBezTo>
                  <a:pt x="52" y="714"/>
                  <a:pt x="52" y="714"/>
                  <a:pt x="52" y="714"/>
                </a:cubicBezTo>
                <a:cubicBezTo>
                  <a:pt x="73" y="714"/>
                  <a:pt x="73" y="714"/>
                  <a:pt x="73" y="714"/>
                </a:cubicBezTo>
                <a:cubicBezTo>
                  <a:pt x="77" y="711"/>
                  <a:pt x="77" y="711"/>
                  <a:pt x="77" y="711"/>
                </a:cubicBezTo>
                <a:cubicBezTo>
                  <a:pt x="82" y="714"/>
                  <a:pt x="82" y="714"/>
                  <a:pt x="82" y="714"/>
                </a:cubicBezTo>
                <a:cubicBezTo>
                  <a:pt x="103" y="713"/>
                  <a:pt x="103" y="713"/>
                  <a:pt x="103" y="713"/>
                </a:cubicBezTo>
                <a:cubicBezTo>
                  <a:pt x="109" y="705"/>
                  <a:pt x="109" y="705"/>
                  <a:pt x="109" y="705"/>
                </a:cubicBezTo>
                <a:cubicBezTo>
                  <a:pt x="106" y="691"/>
                  <a:pt x="106" y="691"/>
                  <a:pt x="106" y="691"/>
                </a:cubicBezTo>
                <a:cubicBezTo>
                  <a:pt x="100" y="663"/>
                  <a:pt x="100" y="663"/>
                  <a:pt x="100" y="663"/>
                </a:cubicBezTo>
                <a:cubicBezTo>
                  <a:pt x="103" y="662"/>
                  <a:pt x="103" y="662"/>
                  <a:pt x="103" y="662"/>
                </a:cubicBezTo>
                <a:cubicBezTo>
                  <a:pt x="116" y="549"/>
                  <a:pt x="116" y="549"/>
                  <a:pt x="116" y="549"/>
                </a:cubicBezTo>
                <a:cubicBezTo>
                  <a:pt x="116" y="501"/>
                  <a:pt x="116" y="501"/>
                  <a:pt x="116" y="501"/>
                </a:cubicBezTo>
                <a:cubicBezTo>
                  <a:pt x="136" y="375"/>
                  <a:pt x="136" y="375"/>
                  <a:pt x="136" y="375"/>
                </a:cubicBezTo>
                <a:cubicBezTo>
                  <a:pt x="137" y="368"/>
                  <a:pt x="137" y="361"/>
                  <a:pt x="136" y="354"/>
                </a:cubicBezTo>
                <a:cubicBezTo>
                  <a:pt x="134" y="333"/>
                  <a:pt x="134" y="333"/>
                  <a:pt x="134" y="333"/>
                </a:cubicBezTo>
                <a:cubicBezTo>
                  <a:pt x="133" y="333"/>
                  <a:pt x="133" y="333"/>
                  <a:pt x="133" y="333"/>
                </a:cubicBezTo>
                <a:cubicBezTo>
                  <a:pt x="133" y="331"/>
                  <a:pt x="132" y="328"/>
                  <a:pt x="131" y="326"/>
                </a:cubicBezTo>
                <a:cubicBezTo>
                  <a:pt x="117" y="294"/>
                  <a:pt x="117" y="294"/>
                  <a:pt x="117" y="294"/>
                </a:cubicBezTo>
                <a:cubicBezTo>
                  <a:pt x="136" y="291"/>
                  <a:pt x="136" y="291"/>
                  <a:pt x="136" y="291"/>
                </a:cubicBezTo>
                <a:cubicBezTo>
                  <a:pt x="141" y="290"/>
                  <a:pt x="144" y="285"/>
                  <a:pt x="143" y="280"/>
                </a:cubicBezTo>
                <a:cubicBezTo>
                  <a:pt x="138" y="256"/>
                  <a:pt x="138" y="256"/>
                  <a:pt x="138" y="256"/>
                </a:cubicBezTo>
                <a:cubicBezTo>
                  <a:pt x="154" y="252"/>
                  <a:pt x="154" y="252"/>
                  <a:pt x="154" y="252"/>
                </a:cubicBezTo>
                <a:cubicBezTo>
                  <a:pt x="164" y="248"/>
                  <a:pt x="163" y="250"/>
                  <a:pt x="162" y="239"/>
                </a:cubicBezTo>
                <a:close/>
                <a:moveTo>
                  <a:pt x="25" y="319"/>
                </a:moveTo>
                <a:cubicBezTo>
                  <a:pt x="25" y="320"/>
                  <a:pt x="25" y="320"/>
                  <a:pt x="25" y="320"/>
                </a:cubicBezTo>
                <a:cubicBezTo>
                  <a:pt x="24" y="240"/>
                  <a:pt x="24" y="240"/>
                  <a:pt x="24" y="240"/>
                </a:cubicBezTo>
                <a:cubicBezTo>
                  <a:pt x="29" y="216"/>
                  <a:pt x="29" y="216"/>
                  <a:pt x="29" y="216"/>
                </a:cubicBezTo>
                <a:cubicBezTo>
                  <a:pt x="29" y="216"/>
                  <a:pt x="30" y="216"/>
                  <a:pt x="30" y="216"/>
                </a:cubicBezTo>
                <a:cubicBezTo>
                  <a:pt x="24" y="240"/>
                  <a:pt x="24" y="240"/>
                  <a:pt x="24" y="240"/>
                </a:cubicBezTo>
                <a:lnTo>
                  <a:pt x="25" y="319"/>
                </a:lnTo>
                <a:close/>
                <a:moveTo>
                  <a:pt x="129" y="213"/>
                </a:moveTo>
                <a:cubicBezTo>
                  <a:pt x="135" y="233"/>
                  <a:pt x="135" y="233"/>
                  <a:pt x="135" y="233"/>
                </a:cubicBezTo>
                <a:cubicBezTo>
                  <a:pt x="133" y="233"/>
                  <a:pt x="133" y="233"/>
                  <a:pt x="133" y="233"/>
                </a:cubicBezTo>
                <a:lnTo>
                  <a:pt x="129" y="213"/>
                </a:lnTo>
                <a:close/>
              </a:path>
            </a:pathLst>
          </a:custGeom>
          <a:solidFill>
            <a:schemeClr val="tx2">
              <a:lumMod val="50000"/>
            </a:schemeClr>
          </a:solidFill>
          <a:ln>
            <a:noFill/>
          </a:ln>
        </p:spPr>
        <p:txBody>
          <a:bodyPr vert="horz" wrap="square" lIns="75438" tIns="37719" rIns="75438" bIns="37719" numCol="1" anchor="t" anchorCtr="0" compatLnSpc="1">
            <a:prstTxWarp prst="textNoShape">
              <a:avLst/>
            </a:prstTxWarp>
          </a:bodyPr>
          <a:lstStyle/>
          <a:p>
            <a:pPr defTabSz="754380"/>
            <a:endParaRPr lang="en-GB" sz="1485">
              <a:solidFill>
                <a:srgbClr val="000000"/>
              </a:solidFill>
            </a:endParaRPr>
          </a:p>
        </p:txBody>
      </p:sp>
      <p:sp>
        <p:nvSpPr>
          <p:cNvPr id="53" name="Title 5"/>
          <p:cNvSpPr txBox="1">
            <a:spLocks/>
          </p:cNvSpPr>
          <p:nvPr/>
        </p:nvSpPr>
        <p:spPr>
          <a:xfrm>
            <a:off x="738817" y="945221"/>
            <a:ext cx="753411" cy="710964"/>
          </a:xfrm>
          <a:prstGeom prst="rect">
            <a:avLst/>
          </a:prstGeom>
        </p:spPr>
        <p:txBody>
          <a:bodyPr vert="horz" wrap="none" lIns="0" tIns="0" rIns="0" bIns="0" rtlCol="0" anchor="ctr" anchorCtr="0">
            <a:spAutoFit/>
          </a:bodyPr>
          <a:lstStyle>
            <a:lvl1pPr algn="l" defTabSz="914400" rtl="0" eaLnBrk="1" latinLnBrk="0" hangingPunct="1">
              <a:lnSpc>
                <a:spcPct val="70000"/>
              </a:lnSpc>
              <a:spcBef>
                <a:spcPct val="0"/>
              </a:spcBef>
              <a:buNone/>
              <a:defRPr sz="5400" kern="1200">
                <a:solidFill>
                  <a:schemeClr val="bg1"/>
                </a:solidFill>
                <a:latin typeface="+mj-lt"/>
                <a:ea typeface="+mj-ea"/>
                <a:cs typeface="+mj-cs"/>
              </a:defRPr>
            </a:lvl1pPr>
          </a:lstStyle>
          <a:p>
            <a:r>
              <a:rPr lang="sv-SE" sz="6600" dirty="0" smtClean="0">
                <a:solidFill>
                  <a:prstClr val="white"/>
                </a:solidFill>
              </a:rPr>
              <a:t>Bist</a:t>
            </a:r>
            <a:endParaRPr lang="en-GB" sz="6600" dirty="0">
              <a:solidFill>
                <a:prstClr val="white"/>
              </a:solidFill>
            </a:endParaRPr>
          </a:p>
        </p:txBody>
      </p:sp>
      <p:sp>
        <p:nvSpPr>
          <p:cNvPr id="54" name="Title 5"/>
          <p:cNvSpPr txBox="1">
            <a:spLocks/>
          </p:cNvSpPr>
          <p:nvPr/>
        </p:nvSpPr>
        <p:spPr>
          <a:xfrm>
            <a:off x="823680" y="1641851"/>
            <a:ext cx="787075" cy="1022075"/>
          </a:xfrm>
          <a:prstGeom prst="rect">
            <a:avLst/>
          </a:prstGeom>
        </p:spPr>
        <p:txBody>
          <a:bodyPr vert="horz" wrap="none" lIns="0" tIns="0" rIns="0" bIns="0" rtlCol="0" anchor="ctr" anchorCtr="0">
            <a:spAutoFit/>
          </a:bodyPr>
          <a:lstStyle>
            <a:lvl1pPr algn="l" defTabSz="914400" rtl="0" eaLnBrk="1" latinLnBrk="0" hangingPunct="1">
              <a:lnSpc>
                <a:spcPct val="70000"/>
              </a:lnSpc>
              <a:spcBef>
                <a:spcPct val="0"/>
              </a:spcBef>
              <a:buNone/>
              <a:defRPr sz="5400" kern="1200">
                <a:solidFill>
                  <a:schemeClr val="bg1"/>
                </a:solidFill>
                <a:latin typeface="+mj-lt"/>
                <a:ea typeface="+mj-ea"/>
                <a:cs typeface="+mj-cs"/>
              </a:defRPr>
            </a:lvl1pPr>
          </a:lstStyle>
          <a:p>
            <a:r>
              <a:rPr lang="sv-SE" sz="9488" dirty="0" smtClean="0">
                <a:solidFill>
                  <a:prstClr val="white"/>
                </a:solidFill>
              </a:rPr>
              <a:t>Du</a:t>
            </a:r>
            <a:endParaRPr lang="en-GB" sz="9488" dirty="0">
              <a:solidFill>
                <a:prstClr val="white"/>
              </a:solidFill>
            </a:endParaRPr>
          </a:p>
        </p:txBody>
      </p:sp>
      <p:sp>
        <p:nvSpPr>
          <p:cNvPr id="55" name="Title 5"/>
          <p:cNvSpPr txBox="1">
            <a:spLocks/>
          </p:cNvSpPr>
          <p:nvPr/>
        </p:nvSpPr>
        <p:spPr>
          <a:xfrm>
            <a:off x="962823" y="2609486"/>
            <a:ext cx="1388201" cy="710964"/>
          </a:xfrm>
          <a:prstGeom prst="rect">
            <a:avLst/>
          </a:prstGeom>
        </p:spPr>
        <p:txBody>
          <a:bodyPr vert="horz" wrap="none" lIns="0" tIns="0" rIns="0" bIns="0" rtlCol="0" anchor="ctr" anchorCtr="0">
            <a:spAutoFit/>
          </a:bodyPr>
          <a:lstStyle>
            <a:lvl1pPr algn="l" defTabSz="914400" rtl="0" eaLnBrk="1" latinLnBrk="0" hangingPunct="1">
              <a:lnSpc>
                <a:spcPct val="70000"/>
              </a:lnSpc>
              <a:spcBef>
                <a:spcPct val="0"/>
              </a:spcBef>
              <a:buNone/>
              <a:defRPr sz="5400" kern="1200">
                <a:solidFill>
                  <a:schemeClr val="bg1"/>
                </a:solidFill>
                <a:latin typeface="+mj-lt"/>
                <a:ea typeface="+mj-ea"/>
                <a:cs typeface="+mj-cs"/>
              </a:defRPr>
            </a:lvl1pPr>
          </a:lstStyle>
          <a:p>
            <a:r>
              <a:rPr lang="sv-SE" sz="6600" dirty="0" smtClean="0">
                <a:solidFill>
                  <a:prstClr val="white"/>
                </a:solidFill>
              </a:rPr>
              <a:t>dabei?</a:t>
            </a:r>
            <a:endParaRPr lang="en-GB" sz="6600" dirty="0">
              <a:solidFill>
                <a:prstClr val="white"/>
              </a:solidFill>
            </a:endParaRPr>
          </a:p>
        </p:txBody>
      </p:sp>
      <p:sp>
        <p:nvSpPr>
          <p:cNvPr id="69" name="Title 5"/>
          <p:cNvSpPr txBox="1">
            <a:spLocks/>
          </p:cNvSpPr>
          <p:nvPr/>
        </p:nvSpPr>
        <p:spPr>
          <a:xfrm>
            <a:off x="6652415" y="3994575"/>
            <a:ext cx="2208425" cy="533223"/>
          </a:xfrm>
          <a:prstGeom prst="rect">
            <a:avLst/>
          </a:prstGeom>
        </p:spPr>
        <p:txBody>
          <a:bodyPr vert="horz" wrap="none" lIns="0" tIns="0" rIns="0" bIns="0" rtlCol="0" anchor="ctr" anchorCtr="0">
            <a:spAutoFit/>
          </a:bodyPr>
          <a:lstStyle>
            <a:lvl1pPr algn="l" defTabSz="914400" rtl="0" eaLnBrk="1" latinLnBrk="0" hangingPunct="1">
              <a:lnSpc>
                <a:spcPct val="70000"/>
              </a:lnSpc>
              <a:spcBef>
                <a:spcPct val="0"/>
              </a:spcBef>
              <a:buNone/>
              <a:defRPr sz="5400" kern="1200">
                <a:solidFill>
                  <a:schemeClr val="bg1"/>
                </a:solidFill>
                <a:latin typeface="+mj-lt"/>
                <a:ea typeface="+mj-ea"/>
                <a:cs typeface="+mj-cs"/>
              </a:defRPr>
            </a:lvl1pPr>
          </a:lstStyle>
          <a:p>
            <a:r>
              <a:rPr lang="sv-SE" sz="4950" spc="83" dirty="0" smtClean="0">
                <a:solidFill>
                  <a:prstClr val="white"/>
                </a:solidFill>
              </a:rPr>
              <a:t>kpmg.de/kicc</a:t>
            </a:r>
            <a:endParaRPr lang="en-GB" sz="4950" spc="83" dirty="0">
              <a:solidFill>
                <a:prstClr val="white"/>
              </a:solidFill>
            </a:endParaRPr>
          </a:p>
        </p:txBody>
      </p:sp>
      <p:pic>
        <p:nvPicPr>
          <p:cNvPr id="43" name="Picture 42"/>
          <p:cNvPicPr>
            <a:picLocks noChangeAspect="1"/>
          </p:cNvPicPr>
          <p:nvPr/>
        </p:nvPicPr>
        <p:blipFill>
          <a:blip r:embed="rId3"/>
          <a:stretch>
            <a:fillRect/>
          </a:stretch>
        </p:blipFill>
        <p:spPr>
          <a:xfrm>
            <a:off x="4438223" y="1718930"/>
            <a:ext cx="1056224" cy="3294411"/>
          </a:xfrm>
          <a:prstGeom prst="rect">
            <a:avLst/>
          </a:prstGeom>
        </p:spPr>
      </p:pic>
    </p:spTree>
    <p:extLst>
      <p:ext uri="{BB962C8B-B14F-4D97-AF65-F5344CB8AC3E}">
        <p14:creationId xmlns:p14="http://schemas.microsoft.com/office/powerpoint/2010/main" val="4104032981"/>
      </p:ext>
    </p:extLst>
  </p:cSld>
  <p:clrMapOvr>
    <a:masterClrMapping/>
  </p:clrMapOvr>
  <p:transition spd="med">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34000">
                                      <p:stCondLst>
                                        <p:cond delay="500"/>
                                      </p:stCondLst>
                                      <p:childTnLst>
                                        <p:set>
                                          <p:cBhvr>
                                            <p:cTn id="6" dur="1" fill="hold">
                                              <p:stCondLst>
                                                <p:cond delay="0"/>
                                              </p:stCondLst>
                                            </p:cTn>
                                            <p:tgtEl>
                                              <p:spTgt spid="53"/>
                                            </p:tgtEl>
                                            <p:attrNameLst>
                                              <p:attrName>style.visibility</p:attrName>
                                            </p:attrNameLst>
                                          </p:cBhvr>
                                          <p:to>
                                            <p:strVal val="visible"/>
                                          </p:to>
                                        </p:set>
                                        <p:anim calcmode="lin" valueType="num" p14:bounceEnd="34000">
                                          <p:cBhvr additive="base">
                                            <p:cTn id="7" dur="500" fill="hold"/>
                                            <p:tgtEl>
                                              <p:spTgt spid="53"/>
                                            </p:tgtEl>
                                            <p:attrNameLst>
                                              <p:attrName>ppt_x</p:attrName>
                                            </p:attrNameLst>
                                          </p:cBhvr>
                                          <p:tavLst>
                                            <p:tav tm="0">
                                              <p:val>
                                                <p:strVal val="#ppt_x"/>
                                              </p:val>
                                            </p:tav>
                                            <p:tav tm="100000">
                                              <p:val>
                                                <p:strVal val="#ppt_x"/>
                                              </p:val>
                                            </p:tav>
                                          </p:tavLst>
                                        </p:anim>
                                        <p:anim calcmode="lin" valueType="num" p14:bounceEnd="34000">
                                          <p:cBhvr additive="base">
                                            <p:cTn id="8" dur="500" fill="hold"/>
                                            <p:tgtEl>
                                              <p:spTgt spid="5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54"/>
                                            </p:tgtEl>
                                            <p:attrNameLst>
                                              <p:attrName>style.visibility</p:attrName>
                                            </p:attrNameLst>
                                          </p:cBhvr>
                                          <p:to>
                                            <p:strVal val="visible"/>
                                          </p:to>
                                        </p:set>
                                        <p:animEffect transition="in" filter="fade">
                                          <p:cBhvr>
                                            <p:cTn id="11" dur="500"/>
                                            <p:tgtEl>
                                              <p:spTgt spid="54"/>
                                            </p:tgtEl>
                                          </p:cBhvr>
                                        </p:animEffect>
                                      </p:childTnLst>
                                    </p:cTn>
                                  </p:par>
                                  <p:par>
                                    <p:cTn id="12" presetID="23" presetClass="entr" presetSubtype="32" fill="hold" grpId="1" nodeType="withEffect">
                                      <p:stCondLst>
                                        <p:cond delay="750"/>
                                      </p:stCondLst>
                                      <p:childTnLst>
                                        <p:set>
                                          <p:cBhvr>
                                            <p:cTn id="13" dur="1" fill="hold">
                                              <p:stCondLst>
                                                <p:cond delay="0"/>
                                              </p:stCondLst>
                                            </p:cTn>
                                            <p:tgtEl>
                                              <p:spTgt spid="54"/>
                                            </p:tgtEl>
                                            <p:attrNameLst>
                                              <p:attrName>style.visibility</p:attrName>
                                            </p:attrNameLst>
                                          </p:cBhvr>
                                          <p:to>
                                            <p:strVal val="visible"/>
                                          </p:to>
                                        </p:set>
                                        <p:anim calcmode="lin" valueType="num">
                                          <p:cBhvr>
                                            <p:cTn id="14" dur="500" fill="hold"/>
                                            <p:tgtEl>
                                              <p:spTgt spid="54"/>
                                            </p:tgtEl>
                                            <p:attrNameLst>
                                              <p:attrName>ppt_w</p:attrName>
                                            </p:attrNameLst>
                                          </p:cBhvr>
                                          <p:tavLst>
                                            <p:tav tm="0">
                                              <p:val>
                                                <p:strVal val="4*#ppt_w"/>
                                              </p:val>
                                            </p:tav>
                                            <p:tav tm="100000">
                                              <p:val>
                                                <p:strVal val="#ppt_w"/>
                                              </p:val>
                                            </p:tav>
                                          </p:tavLst>
                                        </p:anim>
                                        <p:anim calcmode="lin" valueType="num">
                                          <p:cBhvr>
                                            <p:cTn id="15" dur="500" fill="hold"/>
                                            <p:tgtEl>
                                              <p:spTgt spid="54"/>
                                            </p:tgtEl>
                                            <p:attrNameLst>
                                              <p:attrName>ppt_h</p:attrName>
                                            </p:attrNameLst>
                                          </p:cBhvr>
                                          <p:tavLst>
                                            <p:tav tm="0">
                                              <p:val>
                                                <p:strVal val="4*#ppt_h"/>
                                              </p:val>
                                            </p:tav>
                                            <p:tav tm="100000">
                                              <p:val>
                                                <p:strVal val="#ppt_h"/>
                                              </p:val>
                                            </p:tav>
                                          </p:tavLst>
                                        </p:anim>
                                      </p:childTnLst>
                                    </p:cTn>
                                  </p:par>
                                  <p:par>
                                    <p:cTn id="16" presetID="2" presetClass="entr" presetSubtype="8" fill="hold" grpId="0" nodeType="withEffect" p14:presetBounceEnd="34000">
                                      <p:stCondLst>
                                        <p:cond delay="1000"/>
                                      </p:stCondLst>
                                      <p:childTnLst>
                                        <p:set>
                                          <p:cBhvr>
                                            <p:cTn id="17" dur="1" fill="hold">
                                              <p:stCondLst>
                                                <p:cond delay="0"/>
                                              </p:stCondLst>
                                            </p:cTn>
                                            <p:tgtEl>
                                              <p:spTgt spid="55"/>
                                            </p:tgtEl>
                                            <p:attrNameLst>
                                              <p:attrName>style.visibility</p:attrName>
                                            </p:attrNameLst>
                                          </p:cBhvr>
                                          <p:to>
                                            <p:strVal val="visible"/>
                                          </p:to>
                                        </p:set>
                                        <p:anim calcmode="lin" valueType="num" p14:bounceEnd="34000">
                                          <p:cBhvr additive="base">
                                            <p:cTn id="18" dur="500" fill="hold"/>
                                            <p:tgtEl>
                                              <p:spTgt spid="55"/>
                                            </p:tgtEl>
                                            <p:attrNameLst>
                                              <p:attrName>ppt_x</p:attrName>
                                            </p:attrNameLst>
                                          </p:cBhvr>
                                          <p:tavLst>
                                            <p:tav tm="0">
                                              <p:val>
                                                <p:strVal val="0-#ppt_w/2"/>
                                              </p:val>
                                            </p:tav>
                                            <p:tav tm="100000">
                                              <p:val>
                                                <p:strVal val="#ppt_x"/>
                                              </p:val>
                                            </p:tav>
                                          </p:tavLst>
                                        </p:anim>
                                        <p:anim calcmode="lin" valueType="num" p14:bounceEnd="34000">
                                          <p:cBhvr additive="base">
                                            <p:cTn id="19" dur="500" fill="hold"/>
                                            <p:tgtEl>
                                              <p:spTgt spid="55"/>
                                            </p:tgtEl>
                                            <p:attrNameLst>
                                              <p:attrName>ppt_y</p:attrName>
                                            </p:attrNameLst>
                                          </p:cBhvr>
                                          <p:tavLst>
                                            <p:tav tm="0">
                                              <p:val>
                                                <p:strVal val="#ppt_y"/>
                                              </p:val>
                                            </p:tav>
                                            <p:tav tm="100000">
                                              <p:val>
                                                <p:strVal val="#ppt_y"/>
                                              </p:val>
                                            </p:tav>
                                          </p:tavLst>
                                        </p:anim>
                                      </p:childTnLst>
                                    </p:cTn>
                                  </p:par>
                                  <p:par>
                                    <p:cTn id="20" presetID="10" presetClass="entr" presetSubtype="0" fill="hold" nodeType="withEffect">
                                      <p:stCondLst>
                                        <p:cond delay="125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xit" presetSubtype="0" fill="hold" nodeType="withEffect">
                                      <p:stCondLst>
                                        <p:cond delay="1250"/>
                                      </p:stCondLst>
                                      <p:childTnLst>
                                        <p:animEffect transition="out" filter="fade">
                                          <p:cBhvr>
                                            <p:cTn id="24" dur="500"/>
                                            <p:tgtEl>
                                              <p:spTgt spid="25"/>
                                            </p:tgtEl>
                                          </p:cBhvr>
                                        </p:animEffect>
                                        <p:set>
                                          <p:cBhvr>
                                            <p:cTn id="25" dur="1" fill="hold">
                                              <p:stCondLst>
                                                <p:cond delay="499"/>
                                              </p:stCondLst>
                                            </p:cTn>
                                            <p:tgtEl>
                                              <p:spTgt spid="25"/>
                                            </p:tgtEl>
                                            <p:attrNameLst>
                                              <p:attrName>style.visibility</p:attrName>
                                            </p:attrNameLst>
                                          </p:cBhvr>
                                          <p:to>
                                            <p:strVal val="hidden"/>
                                          </p:to>
                                        </p:set>
                                      </p:childTnLst>
                                    </p:cTn>
                                  </p:par>
                                  <p:par>
                                    <p:cTn id="26" presetID="42" presetClass="path" presetSubtype="0" accel="50000" decel="50000" fill="hold" nodeType="withEffect">
                                      <p:stCondLst>
                                        <p:cond delay="1750"/>
                                      </p:stCondLst>
                                      <p:childTnLst>
                                        <p:animMotion origin="layout" path="M 5.55112E-17 1.11111E-6 L -0.04193 1.11111E-6 " pathEditMode="relative" rAng="0" ptsTypes="AA">
                                          <p:cBhvr>
                                            <p:cTn id="27" dur="1500" fill="hold"/>
                                            <p:tgtEl>
                                              <p:spTgt spid="43"/>
                                            </p:tgtEl>
                                            <p:attrNameLst>
                                              <p:attrName>ppt_x</p:attrName>
                                              <p:attrName>ppt_y</p:attrName>
                                            </p:attrNameLst>
                                          </p:cBhvr>
                                          <p:rCtr x="-2096" y="0"/>
                                        </p:animMotion>
                                      </p:childTnLst>
                                    </p:cTn>
                                  </p:par>
                                  <p:par>
                                    <p:cTn id="28" presetID="6" presetClass="emph" presetSubtype="0" accel="48000" decel="43000" fill="hold" nodeType="withEffect">
                                      <p:stCondLst>
                                        <p:cond delay="1750"/>
                                      </p:stCondLst>
                                      <p:childTnLst>
                                        <p:animScale>
                                          <p:cBhvr>
                                            <p:cTn id="29" dur="1500" fill="hold"/>
                                            <p:tgtEl>
                                              <p:spTgt spid="43"/>
                                            </p:tgtEl>
                                          </p:cBhvr>
                                          <p:by x="73000" y="73000"/>
                                        </p:animScale>
                                      </p:childTnLst>
                                    </p:cTn>
                                  </p:par>
                                  <p:par>
                                    <p:cTn id="30" presetID="10" presetClass="entr" presetSubtype="0" fill="hold" grpId="0" nodeType="withEffect">
                                      <p:stCondLst>
                                        <p:cond delay="1750"/>
                                      </p:stCondLst>
                                      <p:childTnLst>
                                        <p:set>
                                          <p:cBhvr>
                                            <p:cTn id="31" dur="1" fill="hold">
                                              <p:stCondLst>
                                                <p:cond delay="0"/>
                                              </p:stCondLst>
                                            </p:cTn>
                                            <p:tgtEl>
                                              <p:spTgt spid="68"/>
                                            </p:tgtEl>
                                            <p:attrNameLst>
                                              <p:attrName>style.visibility</p:attrName>
                                            </p:attrNameLst>
                                          </p:cBhvr>
                                          <p:to>
                                            <p:strVal val="visible"/>
                                          </p:to>
                                        </p:set>
                                        <p:animEffect transition="in" filter="fade">
                                          <p:cBhvr>
                                            <p:cTn id="32" dur="1500"/>
                                            <p:tgtEl>
                                              <p:spTgt spid="68"/>
                                            </p:tgtEl>
                                          </p:cBhvr>
                                        </p:animEffect>
                                      </p:childTnLst>
                                    </p:cTn>
                                  </p:par>
                                  <p:par>
                                    <p:cTn id="33" presetID="35" presetClass="path" presetSubtype="0" decel="50000" fill="hold" grpId="1" nodeType="withEffect">
                                      <p:stCondLst>
                                        <p:cond delay="1750"/>
                                      </p:stCondLst>
                                      <p:childTnLst>
                                        <p:animMotion origin="layout" path="M 4.79167E-6 3.33333E-6 L 0.03059 3.33333E-6 " pathEditMode="relative" rAng="0" ptsTypes="AA">
                                          <p:cBhvr>
                                            <p:cTn id="34" dur="1500" spd="-100000" fill="hold"/>
                                            <p:tgtEl>
                                              <p:spTgt spid="68"/>
                                            </p:tgtEl>
                                            <p:attrNameLst>
                                              <p:attrName>ppt_x</p:attrName>
                                              <p:attrName>ppt_y</p:attrName>
                                            </p:attrNameLst>
                                          </p:cBhvr>
                                          <p:rCtr x="1523" y="0"/>
                                        </p:animMotion>
                                      </p:childTnLst>
                                    </p:cTn>
                                  </p:par>
                                  <p:par>
                                    <p:cTn id="35" presetID="10" presetClass="entr" presetSubtype="0" fill="hold" grpId="0" nodeType="withEffect">
                                      <p:stCondLst>
                                        <p:cond delay="225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1500"/>
                                            <p:tgtEl>
                                              <p:spTgt spid="67"/>
                                            </p:tgtEl>
                                          </p:cBhvr>
                                        </p:animEffect>
                                      </p:childTnLst>
                                    </p:cTn>
                                  </p:par>
                                  <p:par>
                                    <p:cTn id="38" presetID="35" presetClass="path" presetSubtype="0" decel="50000" fill="hold" grpId="1" nodeType="withEffect">
                                      <p:stCondLst>
                                        <p:cond delay="2250"/>
                                      </p:stCondLst>
                                      <p:childTnLst>
                                        <p:animMotion origin="layout" path="M -3.125E-6 -1.48148E-6 L 0.0306 -1.48148E-6 " pathEditMode="relative" rAng="0" ptsTypes="AA">
                                          <p:cBhvr>
                                            <p:cTn id="39" dur="1500" spd="-100000" fill="hold"/>
                                            <p:tgtEl>
                                              <p:spTgt spid="67"/>
                                            </p:tgtEl>
                                            <p:attrNameLst>
                                              <p:attrName>ppt_x</p:attrName>
                                              <p:attrName>ppt_y</p:attrName>
                                            </p:attrNameLst>
                                          </p:cBhvr>
                                          <p:rCtr x="1523" y="0"/>
                                        </p:animMotion>
                                      </p:childTnLst>
                                    </p:cTn>
                                  </p:par>
                                  <p:par>
                                    <p:cTn id="40" presetID="10" presetClass="entr" presetSubtype="0" fill="hold" grpId="0" nodeType="withEffect">
                                      <p:stCondLst>
                                        <p:cond delay="2250"/>
                                      </p:stCondLst>
                                      <p:childTnLst>
                                        <p:set>
                                          <p:cBhvr>
                                            <p:cTn id="41" dur="1" fill="hold">
                                              <p:stCondLst>
                                                <p:cond delay="0"/>
                                              </p:stCondLst>
                                            </p:cTn>
                                            <p:tgtEl>
                                              <p:spTgt spid="65"/>
                                            </p:tgtEl>
                                            <p:attrNameLst>
                                              <p:attrName>style.visibility</p:attrName>
                                            </p:attrNameLst>
                                          </p:cBhvr>
                                          <p:to>
                                            <p:strVal val="visible"/>
                                          </p:to>
                                        </p:set>
                                        <p:animEffect transition="in" filter="fade">
                                          <p:cBhvr>
                                            <p:cTn id="42" dur="1500"/>
                                            <p:tgtEl>
                                              <p:spTgt spid="65"/>
                                            </p:tgtEl>
                                          </p:cBhvr>
                                        </p:animEffect>
                                      </p:childTnLst>
                                    </p:cTn>
                                  </p:par>
                                  <p:par>
                                    <p:cTn id="43" presetID="35" presetClass="path" presetSubtype="0" decel="50000" fill="hold" grpId="1" nodeType="withEffect">
                                      <p:stCondLst>
                                        <p:cond delay="2250"/>
                                      </p:stCondLst>
                                      <p:childTnLst>
                                        <p:animMotion origin="layout" path="M -4.16667E-6 -7.40741E-7 L -0.04088 -7.40741E-7 " pathEditMode="relative" rAng="0" ptsTypes="AA">
                                          <p:cBhvr>
                                            <p:cTn id="44" dur="1500" spd="-100000" fill="hold"/>
                                            <p:tgtEl>
                                              <p:spTgt spid="65"/>
                                            </p:tgtEl>
                                            <p:attrNameLst>
                                              <p:attrName>ppt_x</p:attrName>
                                              <p:attrName>ppt_y</p:attrName>
                                            </p:attrNameLst>
                                          </p:cBhvr>
                                          <p:rCtr x="-2044" y="0"/>
                                        </p:animMotion>
                                      </p:childTnLst>
                                    </p:cTn>
                                  </p:par>
                                  <p:par>
                                    <p:cTn id="45" presetID="55" presetClass="entr" presetSubtype="0" fill="hold" grpId="0" nodeType="withEffect">
                                      <p:stCondLst>
                                        <p:cond delay="3750"/>
                                      </p:stCondLst>
                                      <p:iterate type="lt">
                                        <p:tmPct val="10000"/>
                                      </p:iterate>
                                      <p:childTnLst>
                                        <p:set>
                                          <p:cBhvr>
                                            <p:cTn id="46" dur="1" fill="hold">
                                              <p:stCondLst>
                                                <p:cond delay="0"/>
                                              </p:stCondLst>
                                            </p:cTn>
                                            <p:tgtEl>
                                              <p:spTgt spid="69"/>
                                            </p:tgtEl>
                                            <p:attrNameLst>
                                              <p:attrName>style.visibility</p:attrName>
                                            </p:attrNameLst>
                                          </p:cBhvr>
                                          <p:to>
                                            <p:strVal val="visible"/>
                                          </p:to>
                                        </p:set>
                                        <p:anim calcmode="lin" valueType="num">
                                          <p:cBhvr>
                                            <p:cTn id="47" dur="500" fill="hold"/>
                                            <p:tgtEl>
                                              <p:spTgt spid="69"/>
                                            </p:tgtEl>
                                            <p:attrNameLst>
                                              <p:attrName>ppt_w</p:attrName>
                                            </p:attrNameLst>
                                          </p:cBhvr>
                                          <p:tavLst>
                                            <p:tav tm="0">
                                              <p:val>
                                                <p:strVal val="#ppt_w*0.70"/>
                                              </p:val>
                                            </p:tav>
                                            <p:tav tm="100000">
                                              <p:val>
                                                <p:strVal val="#ppt_w"/>
                                              </p:val>
                                            </p:tav>
                                          </p:tavLst>
                                        </p:anim>
                                        <p:anim calcmode="lin" valueType="num">
                                          <p:cBhvr>
                                            <p:cTn id="48" dur="500" fill="hold"/>
                                            <p:tgtEl>
                                              <p:spTgt spid="69"/>
                                            </p:tgtEl>
                                            <p:attrNameLst>
                                              <p:attrName>ppt_h</p:attrName>
                                            </p:attrNameLst>
                                          </p:cBhvr>
                                          <p:tavLst>
                                            <p:tav tm="0">
                                              <p:val>
                                                <p:strVal val="#ppt_h"/>
                                              </p:val>
                                            </p:tav>
                                            <p:tav tm="100000">
                                              <p:val>
                                                <p:strVal val="#ppt_h"/>
                                              </p:val>
                                            </p:tav>
                                          </p:tavLst>
                                        </p:anim>
                                        <p:animEffect transition="in" filter="fade">
                                          <p:cBhvr>
                                            <p:cTn id="49"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7" grpId="0" animBg="1"/>
          <p:bldP spid="67" grpId="1" animBg="1"/>
          <p:bldP spid="68" grpId="0" animBg="1"/>
          <p:bldP spid="68" grpId="1" animBg="1"/>
          <p:bldP spid="53" grpId="0"/>
          <p:bldP spid="54" grpId="0"/>
          <p:bldP spid="54" grpId="1"/>
          <p:bldP spid="55" grpId="0"/>
          <p:bldP spid="6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500"/>
                                      </p:stCondLst>
                                      <p:childTnLst>
                                        <p:set>
                                          <p:cBhvr>
                                            <p:cTn id="6" dur="1" fill="hold">
                                              <p:stCondLst>
                                                <p:cond delay="0"/>
                                              </p:stCondLst>
                                            </p:cTn>
                                            <p:tgtEl>
                                              <p:spTgt spid="53"/>
                                            </p:tgtEl>
                                            <p:attrNameLst>
                                              <p:attrName>style.visibility</p:attrName>
                                            </p:attrNameLst>
                                          </p:cBhvr>
                                          <p:to>
                                            <p:strVal val="visible"/>
                                          </p:to>
                                        </p:set>
                                        <p:anim calcmode="lin" valueType="num">
                                          <p:cBhvr additive="base">
                                            <p:cTn id="7" dur="500" fill="hold"/>
                                            <p:tgtEl>
                                              <p:spTgt spid="53"/>
                                            </p:tgtEl>
                                            <p:attrNameLst>
                                              <p:attrName>ppt_x</p:attrName>
                                            </p:attrNameLst>
                                          </p:cBhvr>
                                          <p:tavLst>
                                            <p:tav tm="0">
                                              <p:val>
                                                <p:strVal val="#ppt_x"/>
                                              </p:val>
                                            </p:tav>
                                            <p:tav tm="100000">
                                              <p:val>
                                                <p:strVal val="#ppt_x"/>
                                              </p:val>
                                            </p:tav>
                                          </p:tavLst>
                                        </p:anim>
                                        <p:anim calcmode="lin" valueType="num">
                                          <p:cBhvr additive="base">
                                            <p:cTn id="8" dur="500" fill="hold"/>
                                            <p:tgtEl>
                                              <p:spTgt spid="53"/>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54"/>
                                            </p:tgtEl>
                                            <p:attrNameLst>
                                              <p:attrName>style.visibility</p:attrName>
                                            </p:attrNameLst>
                                          </p:cBhvr>
                                          <p:to>
                                            <p:strVal val="visible"/>
                                          </p:to>
                                        </p:set>
                                        <p:animEffect transition="in" filter="fade">
                                          <p:cBhvr>
                                            <p:cTn id="11" dur="500"/>
                                            <p:tgtEl>
                                              <p:spTgt spid="54"/>
                                            </p:tgtEl>
                                          </p:cBhvr>
                                        </p:animEffect>
                                      </p:childTnLst>
                                    </p:cTn>
                                  </p:par>
                                  <p:par>
                                    <p:cTn id="12" presetID="23" presetClass="entr" presetSubtype="32" fill="hold" grpId="1" nodeType="withEffect">
                                      <p:stCondLst>
                                        <p:cond delay="750"/>
                                      </p:stCondLst>
                                      <p:childTnLst>
                                        <p:set>
                                          <p:cBhvr>
                                            <p:cTn id="13" dur="1" fill="hold">
                                              <p:stCondLst>
                                                <p:cond delay="0"/>
                                              </p:stCondLst>
                                            </p:cTn>
                                            <p:tgtEl>
                                              <p:spTgt spid="54"/>
                                            </p:tgtEl>
                                            <p:attrNameLst>
                                              <p:attrName>style.visibility</p:attrName>
                                            </p:attrNameLst>
                                          </p:cBhvr>
                                          <p:to>
                                            <p:strVal val="visible"/>
                                          </p:to>
                                        </p:set>
                                        <p:anim calcmode="lin" valueType="num">
                                          <p:cBhvr>
                                            <p:cTn id="14" dur="500" fill="hold"/>
                                            <p:tgtEl>
                                              <p:spTgt spid="54"/>
                                            </p:tgtEl>
                                            <p:attrNameLst>
                                              <p:attrName>ppt_w</p:attrName>
                                            </p:attrNameLst>
                                          </p:cBhvr>
                                          <p:tavLst>
                                            <p:tav tm="0">
                                              <p:val>
                                                <p:strVal val="4*#ppt_w"/>
                                              </p:val>
                                            </p:tav>
                                            <p:tav tm="100000">
                                              <p:val>
                                                <p:strVal val="#ppt_w"/>
                                              </p:val>
                                            </p:tav>
                                          </p:tavLst>
                                        </p:anim>
                                        <p:anim calcmode="lin" valueType="num">
                                          <p:cBhvr>
                                            <p:cTn id="15" dur="500" fill="hold"/>
                                            <p:tgtEl>
                                              <p:spTgt spid="54"/>
                                            </p:tgtEl>
                                            <p:attrNameLst>
                                              <p:attrName>ppt_h</p:attrName>
                                            </p:attrNameLst>
                                          </p:cBhvr>
                                          <p:tavLst>
                                            <p:tav tm="0">
                                              <p:val>
                                                <p:strVal val="4*#ppt_h"/>
                                              </p:val>
                                            </p:tav>
                                            <p:tav tm="100000">
                                              <p:val>
                                                <p:strVal val="#ppt_h"/>
                                              </p:val>
                                            </p:tav>
                                          </p:tavLst>
                                        </p:anim>
                                      </p:childTnLst>
                                    </p:cTn>
                                  </p:par>
                                  <p:par>
                                    <p:cTn id="16" presetID="2" presetClass="entr" presetSubtype="8" fill="hold" grpId="0" nodeType="withEffect">
                                      <p:stCondLst>
                                        <p:cond delay="1000"/>
                                      </p:stCondLst>
                                      <p:childTnLst>
                                        <p:set>
                                          <p:cBhvr>
                                            <p:cTn id="17" dur="1" fill="hold">
                                              <p:stCondLst>
                                                <p:cond delay="0"/>
                                              </p:stCondLst>
                                            </p:cTn>
                                            <p:tgtEl>
                                              <p:spTgt spid="55"/>
                                            </p:tgtEl>
                                            <p:attrNameLst>
                                              <p:attrName>style.visibility</p:attrName>
                                            </p:attrNameLst>
                                          </p:cBhvr>
                                          <p:to>
                                            <p:strVal val="visible"/>
                                          </p:to>
                                        </p:set>
                                        <p:anim calcmode="lin" valueType="num">
                                          <p:cBhvr additive="base">
                                            <p:cTn id="18" dur="500" fill="hold"/>
                                            <p:tgtEl>
                                              <p:spTgt spid="55"/>
                                            </p:tgtEl>
                                            <p:attrNameLst>
                                              <p:attrName>ppt_x</p:attrName>
                                            </p:attrNameLst>
                                          </p:cBhvr>
                                          <p:tavLst>
                                            <p:tav tm="0">
                                              <p:val>
                                                <p:strVal val="0-#ppt_w/2"/>
                                              </p:val>
                                            </p:tav>
                                            <p:tav tm="100000">
                                              <p:val>
                                                <p:strVal val="#ppt_x"/>
                                              </p:val>
                                            </p:tav>
                                          </p:tavLst>
                                        </p:anim>
                                        <p:anim calcmode="lin" valueType="num">
                                          <p:cBhvr additive="base">
                                            <p:cTn id="19" dur="500" fill="hold"/>
                                            <p:tgtEl>
                                              <p:spTgt spid="55"/>
                                            </p:tgtEl>
                                            <p:attrNameLst>
                                              <p:attrName>ppt_y</p:attrName>
                                            </p:attrNameLst>
                                          </p:cBhvr>
                                          <p:tavLst>
                                            <p:tav tm="0">
                                              <p:val>
                                                <p:strVal val="#ppt_y"/>
                                              </p:val>
                                            </p:tav>
                                            <p:tav tm="100000">
                                              <p:val>
                                                <p:strVal val="#ppt_y"/>
                                              </p:val>
                                            </p:tav>
                                          </p:tavLst>
                                        </p:anim>
                                      </p:childTnLst>
                                    </p:cTn>
                                  </p:par>
                                  <p:par>
                                    <p:cTn id="20" presetID="10" presetClass="entr" presetSubtype="0" fill="hold" nodeType="withEffect">
                                      <p:stCondLst>
                                        <p:cond delay="125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xit" presetSubtype="0" fill="hold" nodeType="withEffect">
                                      <p:stCondLst>
                                        <p:cond delay="1250"/>
                                      </p:stCondLst>
                                      <p:childTnLst>
                                        <p:animEffect transition="out" filter="fade">
                                          <p:cBhvr>
                                            <p:cTn id="24" dur="500"/>
                                            <p:tgtEl>
                                              <p:spTgt spid="25"/>
                                            </p:tgtEl>
                                          </p:cBhvr>
                                        </p:animEffect>
                                        <p:set>
                                          <p:cBhvr>
                                            <p:cTn id="25" dur="1" fill="hold">
                                              <p:stCondLst>
                                                <p:cond delay="499"/>
                                              </p:stCondLst>
                                            </p:cTn>
                                            <p:tgtEl>
                                              <p:spTgt spid="25"/>
                                            </p:tgtEl>
                                            <p:attrNameLst>
                                              <p:attrName>style.visibility</p:attrName>
                                            </p:attrNameLst>
                                          </p:cBhvr>
                                          <p:to>
                                            <p:strVal val="hidden"/>
                                          </p:to>
                                        </p:set>
                                      </p:childTnLst>
                                    </p:cTn>
                                  </p:par>
                                  <p:par>
                                    <p:cTn id="26" presetID="42" presetClass="path" presetSubtype="0" accel="50000" decel="50000" fill="hold" nodeType="withEffect">
                                      <p:stCondLst>
                                        <p:cond delay="1750"/>
                                      </p:stCondLst>
                                      <p:childTnLst>
                                        <p:animMotion origin="layout" path="M 5.55112E-17 1.11111E-6 L -0.04193 1.11111E-6 " pathEditMode="relative" rAng="0" ptsTypes="AA">
                                          <p:cBhvr>
                                            <p:cTn id="27" dur="1500" fill="hold"/>
                                            <p:tgtEl>
                                              <p:spTgt spid="43"/>
                                            </p:tgtEl>
                                            <p:attrNameLst>
                                              <p:attrName>ppt_x</p:attrName>
                                              <p:attrName>ppt_y</p:attrName>
                                            </p:attrNameLst>
                                          </p:cBhvr>
                                          <p:rCtr x="-2096" y="0"/>
                                        </p:animMotion>
                                      </p:childTnLst>
                                    </p:cTn>
                                  </p:par>
                                  <p:par>
                                    <p:cTn id="28" presetID="6" presetClass="emph" presetSubtype="0" accel="48000" decel="43000" fill="hold" nodeType="withEffect">
                                      <p:stCondLst>
                                        <p:cond delay="1750"/>
                                      </p:stCondLst>
                                      <p:childTnLst>
                                        <p:animScale>
                                          <p:cBhvr>
                                            <p:cTn id="29" dur="1500" fill="hold"/>
                                            <p:tgtEl>
                                              <p:spTgt spid="43"/>
                                            </p:tgtEl>
                                          </p:cBhvr>
                                          <p:by x="73000" y="73000"/>
                                        </p:animScale>
                                      </p:childTnLst>
                                    </p:cTn>
                                  </p:par>
                                  <p:par>
                                    <p:cTn id="30" presetID="10" presetClass="entr" presetSubtype="0" fill="hold" grpId="0" nodeType="withEffect">
                                      <p:stCondLst>
                                        <p:cond delay="1750"/>
                                      </p:stCondLst>
                                      <p:childTnLst>
                                        <p:set>
                                          <p:cBhvr>
                                            <p:cTn id="31" dur="1" fill="hold">
                                              <p:stCondLst>
                                                <p:cond delay="0"/>
                                              </p:stCondLst>
                                            </p:cTn>
                                            <p:tgtEl>
                                              <p:spTgt spid="68"/>
                                            </p:tgtEl>
                                            <p:attrNameLst>
                                              <p:attrName>style.visibility</p:attrName>
                                            </p:attrNameLst>
                                          </p:cBhvr>
                                          <p:to>
                                            <p:strVal val="visible"/>
                                          </p:to>
                                        </p:set>
                                        <p:animEffect transition="in" filter="fade">
                                          <p:cBhvr>
                                            <p:cTn id="32" dur="1500"/>
                                            <p:tgtEl>
                                              <p:spTgt spid="68"/>
                                            </p:tgtEl>
                                          </p:cBhvr>
                                        </p:animEffect>
                                      </p:childTnLst>
                                    </p:cTn>
                                  </p:par>
                                  <p:par>
                                    <p:cTn id="33" presetID="35" presetClass="path" presetSubtype="0" decel="50000" fill="hold" grpId="1" nodeType="withEffect">
                                      <p:stCondLst>
                                        <p:cond delay="1750"/>
                                      </p:stCondLst>
                                      <p:childTnLst>
                                        <p:animMotion origin="layout" path="M 4.79167E-6 3.33333E-6 L 0.03059 3.33333E-6 " pathEditMode="relative" rAng="0" ptsTypes="AA">
                                          <p:cBhvr>
                                            <p:cTn id="34" dur="1500" spd="-100000" fill="hold"/>
                                            <p:tgtEl>
                                              <p:spTgt spid="68"/>
                                            </p:tgtEl>
                                            <p:attrNameLst>
                                              <p:attrName>ppt_x</p:attrName>
                                              <p:attrName>ppt_y</p:attrName>
                                            </p:attrNameLst>
                                          </p:cBhvr>
                                          <p:rCtr x="1523" y="0"/>
                                        </p:animMotion>
                                      </p:childTnLst>
                                    </p:cTn>
                                  </p:par>
                                  <p:par>
                                    <p:cTn id="35" presetID="10" presetClass="entr" presetSubtype="0" fill="hold" grpId="0" nodeType="withEffect">
                                      <p:stCondLst>
                                        <p:cond delay="225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1500"/>
                                            <p:tgtEl>
                                              <p:spTgt spid="67"/>
                                            </p:tgtEl>
                                          </p:cBhvr>
                                        </p:animEffect>
                                      </p:childTnLst>
                                    </p:cTn>
                                  </p:par>
                                  <p:par>
                                    <p:cTn id="38" presetID="35" presetClass="path" presetSubtype="0" decel="50000" fill="hold" grpId="1" nodeType="withEffect">
                                      <p:stCondLst>
                                        <p:cond delay="2250"/>
                                      </p:stCondLst>
                                      <p:childTnLst>
                                        <p:animMotion origin="layout" path="M -3.125E-6 -1.48148E-6 L 0.0306 -1.48148E-6 " pathEditMode="relative" rAng="0" ptsTypes="AA">
                                          <p:cBhvr>
                                            <p:cTn id="39" dur="1500" spd="-100000" fill="hold"/>
                                            <p:tgtEl>
                                              <p:spTgt spid="67"/>
                                            </p:tgtEl>
                                            <p:attrNameLst>
                                              <p:attrName>ppt_x</p:attrName>
                                              <p:attrName>ppt_y</p:attrName>
                                            </p:attrNameLst>
                                          </p:cBhvr>
                                          <p:rCtr x="1523" y="0"/>
                                        </p:animMotion>
                                      </p:childTnLst>
                                    </p:cTn>
                                  </p:par>
                                  <p:par>
                                    <p:cTn id="40" presetID="10" presetClass="entr" presetSubtype="0" fill="hold" grpId="0" nodeType="withEffect">
                                      <p:stCondLst>
                                        <p:cond delay="2250"/>
                                      </p:stCondLst>
                                      <p:childTnLst>
                                        <p:set>
                                          <p:cBhvr>
                                            <p:cTn id="41" dur="1" fill="hold">
                                              <p:stCondLst>
                                                <p:cond delay="0"/>
                                              </p:stCondLst>
                                            </p:cTn>
                                            <p:tgtEl>
                                              <p:spTgt spid="65"/>
                                            </p:tgtEl>
                                            <p:attrNameLst>
                                              <p:attrName>style.visibility</p:attrName>
                                            </p:attrNameLst>
                                          </p:cBhvr>
                                          <p:to>
                                            <p:strVal val="visible"/>
                                          </p:to>
                                        </p:set>
                                        <p:animEffect transition="in" filter="fade">
                                          <p:cBhvr>
                                            <p:cTn id="42" dur="1500"/>
                                            <p:tgtEl>
                                              <p:spTgt spid="65"/>
                                            </p:tgtEl>
                                          </p:cBhvr>
                                        </p:animEffect>
                                      </p:childTnLst>
                                    </p:cTn>
                                  </p:par>
                                  <p:par>
                                    <p:cTn id="43" presetID="35" presetClass="path" presetSubtype="0" decel="50000" fill="hold" grpId="1" nodeType="withEffect">
                                      <p:stCondLst>
                                        <p:cond delay="2250"/>
                                      </p:stCondLst>
                                      <p:childTnLst>
                                        <p:animMotion origin="layout" path="M -4.16667E-6 -7.40741E-7 L -0.04088 -7.40741E-7 " pathEditMode="relative" rAng="0" ptsTypes="AA">
                                          <p:cBhvr>
                                            <p:cTn id="44" dur="1500" spd="-100000" fill="hold"/>
                                            <p:tgtEl>
                                              <p:spTgt spid="65"/>
                                            </p:tgtEl>
                                            <p:attrNameLst>
                                              <p:attrName>ppt_x</p:attrName>
                                              <p:attrName>ppt_y</p:attrName>
                                            </p:attrNameLst>
                                          </p:cBhvr>
                                          <p:rCtr x="-2044" y="0"/>
                                        </p:animMotion>
                                      </p:childTnLst>
                                    </p:cTn>
                                  </p:par>
                                  <p:par>
                                    <p:cTn id="45" presetID="55" presetClass="entr" presetSubtype="0" fill="hold" grpId="0" nodeType="withEffect">
                                      <p:stCondLst>
                                        <p:cond delay="3750"/>
                                      </p:stCondLst>
                                      <p:iterate type="lt">
                                        <p:tmPct val="10000"/>
                                      </p:iterate>
                                      <p:childTnLst>
                                        <p:set>
                                          <p:cBhvr>
                                            <p:cTn id="46" dur="1" fill="hold">
                                              <p:stCondLst>
                                                <p:cond delay="0"/>
                                              </p:stCondLst>
                                            </p:cTn>
                                            <p:tgtEl>
                                              <p:spTgt spid="69"/>
                                            </p:tgtEl>
                                            <p:attrNameLst>
                                              <p:attrName>style.visibility</p:attrName>
                                            </p:attrNameLst>
                                          </p:cBhvr>
                                          <p:to>
                                            <p:strVal val="visible"/>
                                          </p:to>
                                        </p:set>
                                        <p:anim calcmode="lin" valueType="num">
                                          <p:cBhvr>
                                            <p:cTn id="47" dur="500" fill="hold"/>
                                            <p:tgtEl>
                                              <p:spTgt spid="69"/>
                                            </p:tgtEl>
                                            <p:attrNameLst>
                                              <p:attrName>ppt_w</p:attrName>
                                            </p:attrNameLst>
                                          </p:cBhvr>
                                          <p:tavLst>
                                            <p:tav tm="0">
                                              <p:val>
                                                <p:strVal val="#ppt_w*0.70"/>
                                              </p:val>
                                            </p:tav>
                                            <p:tav tm="100000">
                                              <p:val>
                                                <p:strVal val="#ppt_w"/>
                                              </p:val>
                                            </p:tav>
                                          </p:tavLst>
                                        </p:anim>
                                        <p:anim calcmode="lin" valueType="num">
                                          <p:cBhvr>
                                            <p:cTn id="48" dur="500" fill="hold"/>
                                            <p:tgtEl>
                                              <p:spTgt spid="69"/>
                                            </p:tgtEl>
                                            <p:attrNameLst>
                                              <p:attrName>ppt_h</p:attrName>
                                            </p:attrNameLst>
                                          </p:cBhvr>
                                          <p:tavLst>
                                            <p:tav tm="0">
                                              <p:val>
                                                <p:strVal val="#ppt_h"/>
                                              </p:val>
                                            </p:tav>
                                            <p:tav tm="100000">
                                              <p:val>
                                                <p:strVal val="#ppt_h"/>
                                              </p:val>
                                            </p:tav>
                                          </p:tavLst>
                                        </p:anim>
                                        <p:animEffect transition="in" filter="fade">
                                          <p:cBhvr>
                                            <p:cTn id="49"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7" grpId="0" animBg="1"/>
          <p:bldP spid="67" grpId="1" animBg="1"/>
          <p:bldP spid="68" grpId="0" animBg="1"/>
          <p:bldP spid="68" grpId="1" animBg="1"/>
          <p:bldP spid="53" grpId="0"/>
          <p:bldP spid="54" grpId="0"/>
          <p:bldP spid="54" grpId="1"/>
          <p:bldP spid="55" grpId="0"/>
          <p:bldP spid="69" grpId="0"/>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2286001" y="4085217"/>
            <a:ext cx="6918962" cy="2661555"/>
            <a:chOff x="2286001" y="3321733"/>
            <a:chExt cx="6918962" cy="2661555"/>
          </a:xfrm>
        </p:grpSpPr>
        <p:sp>
          <p:nvSpPr>
            <p:cNvPr id="3" name="Content Placeholder 1"/>
            <p:cNvSpPr txBox="1">
              <a:spLocks/>
            </p:cNvSpPr>
            <p:nvPr/>
          </p:nvSpPr>
          <p:spPr>
            <a:xfrm>
              <a:off x="2300925" y="4178105"/>
              <a:ext cx="6904038" cy="1805183"/>
            </a:xfrm>
            <a:prstGeom prst="rect">
              <a:avLst/>
            </a:prstGeom>
          </p:spPr>
          <p:txBody>
            <a:bodyPr lIns="0" tIns="0" rIns="0" bIns="0"/>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Lucida Grande"/>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Lucida Grande"/>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914400"/>
              <a:r>
                <a:rPr lang="en-US" altLang="en-US" sz="1100" kern="0" dirty="0">
                  <a:solidFill>
                    <a:schemeClr val="bg1">
                      <a:lumMod val="65000"/>
                    </a:schemeClr>
                  </a:solidFill>
                  <a:latin typeface="Univers for KPMG" panose="020B0603020202020204" pitchFamily="34" charset="0"/>
                </a:rPr>
                <a:t>© 2016 KPMG International Cooperative ("KPMG International"), a Swiss entity. Member firms of the KPMG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a:t>
              </a:r>
            </a:p>
            <a:p>
              <a:pPr lvl="1" defTabSz="914400"/>
              <a:endParaRPr lang="en-US" altLang="en-US" sz="1100" kern="0" dirty="0">
                <a:solidFill>
                  <a:schemeClr val="bg1">
                    <a:lumMod val="65000"/>
                  </a:schemeClr>
                </a:solidFill>
                <a:latin typeface="Univers for KPMG" panose="020B0603020202020204" pitchFamily="34" charset="0"/>
              </a:endParaRPr>
            </a:p>
            <a:p>
              <a:pPr lvl="1" defTabSz="914400"/>
              <a:r>
                <a:rPr lang="en-US" altLang="en-US" sz="1100" kern="0" dirty="0">
                  <a:solidFill>
                    <a:schemeClr val="bg1">
                      <a:lumMod val="65000"/>
                    </a:schemeClr>
                  </a:solidFill>
                  <a:latin typeface="Univers for KPMG" panose="020B0603020202020204" pitchFamily="34" charset="0"/>
                </a:rPr>
                <a:t>The KPMG name and logo are registered trademarks or trademarks of KPMG International</a:t>
              </a:r>
              <a:r>
                <a:rPr lang="en-US" altLang="en-US" sz="1100" kern="0" dirty="0" smtClean="0">
                  <a:solidFill>
                    <a:schemeClr val="bg1">
                      <a:lumMod val="65000"/>
                    </a:schemeClr>
                  </a:solidFill>
                  <a:latin typeface="Univers for KPMG" panose="020B0603020202020204" pitchFamily="34" charset="0"/>
                </a:rPr>
                <a:t>.</a:t>
              </a:r>
              <a:endParaRPr lang="en-US" altLang="en-US" sz="1100" kern="0" dirty="0">
                <a:solidFill>
                  <a:schemeClr val="bg1">
                    <a:lumMod val="65000"/>
                  </a:schemeClr>
                </a:solidFill>
                <a:latin typeface="Univers for KPMG" panose="020B0603020202020204" pitchFamily="34" charset="0"/>
              </a:endParaRPr>
            </a:p>
          </p:txBody>
        </p:sp>
        <p:sp>
          <p:nvSpPr>
            <p:cNvPr id="4" name="Rectangle 3">
              <a:hlinkClick r:id="rId2"/>
            </p:cNvPr>
            <p:cNvSpPr>
              <a:spLocks noChangeArrowheads="1"/>
            </p:cNvSpPr>
            <p:nvPr/>
          </p:nvSpPr>
          <p:spPr bwMode="auto">
            <a:xfrm>
              <a:off x="2290011" y="3321733"/>
              <a:ext cx="1752293" cy="184666"/>
            </a:xfrm>
            <a:prstGeom prst="rect">
              <a:avLst/>
            </a:prstGeom>
            <a:noFill/>
            <a:ln w="9525">
              <a:noFill/>
              <a:miter lim="800000"/>
              <a:headEnd/>
              <a:tailEnd/>
            </a:ln>
            <a:effectLst/>
          </p:spPr>
          <p:txBody>
            <a:bodyPr wrap="square" lIns="0" tIns="0" rIns="0" bIns="0" anchor="ctr">
              <a:spAutoFit/>
            </a:bodyPr>
            <a:lstStyle/>
            <a:p>
              <a:pPr>
                <a:defRPr/>
              </a:pPr>
              <a:r>
                <a:rPr lang="en-GB" sz="1200" b="1" i="0" kern="0" dirty="0" smtClean="0">
                  <a:solidFill>
                    <a:schemeClr val="tx2"/>
                  </a:solidFill>
                  <a:latin typeface="Univers for KPMG" panose="020B0603020202020204" pitchFamily="34" charset="0"/>
                  <a:ea typeface="Times New Roman" pitchFamily="18" charset="0"/>
                  <a:cs typeface="Univers for KPMG"/>
                </a:rPr>
                <a:t>kpmg.com/</a:t>
              </a:r>
              <a:r>
                <a:rPr lang="en-GB" sz="1200" b="1" i="0" kern="0" dirty="0" err="1" smtClean="0">
                  <a:solidFill>
                    <a:schemeClr val="tx2"/>
                  </a:solidFill>
                  <a:latin typeface="Univers for KPMG" panose="020B0603020202020204" pitchFamily="34" charset="0"/>
                  <a:ea typeface="Times New Roman" pitchFamily="18" charset="0"/>
                  <a:cs typeface="Univers for KPMG"/>
                </a:rPr>
                <a:t>socialmedia</a:t>
              </a:r>
              <a:endParaRPr lang="en-GB" sz="1200" b="1" i="0" kern="0" dirty="0">
                <a:solidFill>
                  <a:schemeClr val="tx2"/>
                </a:solidFill>
                <a:latin typeface="Univers for KPMG" panose="020B0603020202020204" pitchFamily="34" charset="0"/>
                <a:cs typeface="Univers for KPMG"/>
              </a:endParaRPr>
            </a:p>
          </p:txBody>
        </p:sp>
        <p:pic>
          <p:nvPicPr>
            <p:cNvPr id="5" name="Picture 4"/>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2286001" y="3562128"/>
              <a:ext cx="2104768" cy="323663"/>
            </a:xfrm>
            <a:prstGeom prst="rect">
              <a:avLst/>
            </a:prstGeom>
            <a:noFill/>
            <a:ln w="9525">
              <a:noFill/>
              <a:miter lim="800000"/>
              <a:headEnd/>
              <a:tailEnd/>
            </a:ln>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96336" y="3562129"/>
              <a:ext cx="1094503" cy="322270"/>
            </a:xfrm>
            <a:prstGeom prst="rect">
              <a:avLst/>
            </a:prstGeom>
          </p:spPr>
        </p:pic>
        <p:sp>
          <p:nvSpPr>
            <p:cNvPr id="7" name="Rectangle 6">
              <a:hlinkClick r:id="rId2"/>
            </p:cNvPr>
            <p:cNvSpPr>
              <a:spLocks noChangeArrowheads="1"/>
            </p:cNvSpPr>
            <p:nvPr/>
          </p:nvSpPr>
          <p:spPr bwMode="auto">
            <a:xfrm>
              <a:off x="4596336" y="3321733"/>
              <a:ext cx="1143000" cy="184666"/>
            </a:xfrm>
            <a:prstGeom prst="rect">
              <a:avLst/>
            </a:prstGeom>
            <a:noFill/>
            <a:ln w="9525">
              <a:noFill/>
              <a:miter lim="800000"/>
              <a:headEnd/>
              <a:tailEnd/>
            </a:ln>
            <a:effectLst/>
          </p:spPr>
          <p:txBody>
            <a:bodyPr lIns="0" tIns="0" rIns="0" bIns="0" anchor="ctr">
              <a:spAutoFit/>
            </a:bodyPr>
            <a:lstStyle/>
            <a:p>
              <a:pPr>
                <a:defRPr/>
              </a:pPr>
              <a:r>
                <a:rPr lang="en-GB" sz="1200" b="1" i="0" kern="0" dirty="0" smtClean="0">
                  <a:solidFill>
                    <a:schemeClr val="tx2"/>
                  </a:solidFill>
                  <a:latin typeface="Univers for KPMG" panose="020B0603020202020204" pitchFamily="34" charset="0"/>
                  <a:ea typeface="Times New Roman" pitchFamily="18" charset="0"/>
                  <a:cs typeface="Univers for KPMG"/>
                </a:rPr>
                <a:t>kpmg.com/app</a:t>
              </a:r>
              <a:endParaRPr lang="en-GB" sz="1200" b="1" i="0" kern="0" dirty="0">
                <a:solidFill>
                  <a:schemeClr val="tx2"/>
                </a:solidFill>
                <a:latin typeface="Univers for KPMG" panose="020B0603020202020204" pitchFamily="34" charset="0"/>
                <a:cs typeface="Univers for KPMG"/>
              </a:endParaRPr>
            </a:p>
          </p:txBody>
        </p:sp>
      </p:grpSp>
      <p:sp>
        <p:nvSpPr>
          <p:cNvPr id="8" name="Text Box 6"/>
          <p:cNvSpPr txBox="1">
            <a:spLocks noChangeArrowheads="1"/>
          </p:cNvSpPr>
          <p:nvPr/>
        </p:nvSpPr>
        <p:spPr bwMode="gray">
          <a:xfrm>
            <a:off x="2286001" y="1509534"/>
            <a:ext cx="2880000" cy="21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
                <a:solidFill>
                  <a:srgbClr val="000000"/>
                </a:solidFill>
                <a:miter lim="800000"/>
                <a:headEnd/>
                <a:tailEnd/>
              </a14:hiddenLine>
            </a:ext>
          </a:extLst>
        </p:spPr>
        <p:txBody>
          <a:bodyPr wrap="none" lIns="0" tIns="0" rIns="0" bIns="0"/>
          <a:lstStyle>
            <a:lvl1pPr defTabSz="2695575">
              <a:tabLst>
                <a:tab pos="0" algn="l"/>
                <a:tab pos="568325" algn="r"/>
                <a:tab pos="657225" algn="l"/>
              </a:tabLst>
              <a:defRPr sz="1900">
                <a:solidFill>
                  <a:schemeClr val="tx1"/>
                </a:solidFill>
                <a:latin typeface="Arial" panose="020B0604020202020204" pitchFamily="34" charset="0"/>
                <a:cs typeface="Arial" panose="020B0604020202020204" pitchFamily="34" charset="0"/>
              </a:defRPr>
            </a:lvl1pPr>
            <a:lvl2pPr marL="742950" indent="-285750" defTabSz="2695575">
              <a:tabLst>
                <a:tab pos="0" algn="l"/>
                <a:tab pos="568325" algn="r"/>
                <a:tab pos="657225" algn="l"/>
              </a:tabLst>
              <a:defRPr sz="1900">
                <a:solidFill>
                  <a:schemeClr val="tx1"/>
                </a:solidFill>
                <a:latin typeface="Arial" panose="020B0604020202020204" pitchFamily="34" charset="0"/>
                <a:cs typeface="Arial" panose="020B0604020202020204" pitchFamily="34" charset="0"/>
              </a:defRPr>
            </a:lvl2pPr>
            <a:lvl3pPr marL="1143000" indent="-228600" defTabSz="2695575">
              <a:tabLst>
                <a:tab pos="0" algn="l"/>
                <a:tab pos="568325" algn="r"/>
                <a:tab pos="657225" algn="l"/>
              </a:tabLst>
              <a:defRPr sz="1900">
                <a:solidFill>
                  <a:schemeClr val="tx1"/>
                </a:solidFill>
                <a:latin typeface="Arial" panose="020B0604020202020204" pitchFamily="34" charset="0"/>
                <a:cs typeface="Arial" panose="020B0604020202020204" pitchFamily="34" charset="0"/>
              </a:defRPr>
            </a:lvl3pPr>
            <a:lvl4pPr marL="1600200" indent="-228600" defTabSz="2695575">
              <a:tabLst>
                <a:tab pos="0" algn="l"/>
                <a:tab pos="568325" algn="r"/>
                <a:tab pos="657225" algn="l"/>
              </a:tabLst>
              <a:defRPr sz="1900">
                <a:solidFill>
                  <a:schemeClr val="tx1"/>
                </a:solidFill>
                <a:latin typeface="Arial" panose="020B0604020202020204" pitchFamily="34" charset="0"/>
                <a:cs typeface="Arial" panose="020B0604020202020204" pitchFamily="34" charset="0"/>
              </a:defRPr>
            </a:lvl4pPr>
            <a:lvl5pPr marL="2057400" indent="-228600" defTabSz="2695575">
              <a:tabLst>
                <a:tab pos="0" algn="l"/>
                <a:tab pos="568325" algn="r"/>
                <a:tab pos="657225" algn="l"/>
              </a:tabLst>
              <a:defRPr sz="1900">
                <a:solidFill>
                  <a:schemeClr val="tx1"/>
                </a:solidFill>
                <a:latin typeface="Arial" panose="020B0604020202020204" pitchFamily="34" charset="0"/>
                <a:cs typeface="Arial" panose="020B0604020202020204" pitchFamily="34" charset="0"/>
              </a:defRPr>
            </a:lvl5pPr>
            <a:lvl6pPr marL="2514600" indent="-228600" defTabSz="2695575" fontAlgn="base">
              <a:spcBef>
                <a:spcPct val="0"/>
              </a:spcBef>
              <a:spcAft>
                <a:spcPct val="0"/>
              </a:spcAft>
              <a:tabLst>
                <a:tab pos="0" algn="l"/>
                <a:tab pos="568325" algn="r"/>
                <a:tab pos="657225" algn="l"/>
              </a:tabLst>
              <a:defRPr sz="1900">
                <a:solidFill>
                  <a:schemeClr val="tx1"/>
                </a:solidFill>
                <a:latin typeface="Arial" panose="020B0604020202020204" pitchFamily="34" charset="0"/>
                <a:cs typeface="Arial" panose="020B0604020202020204" pitchFamily="34" charset="0"/>
              </a:defRPr>
            </a:lvl6pPr>
            <a:lvl7pPr marL="2971800" indent="-228600" defTabSz="2695575" fontAlgn="base">
              <a:spcBef>
                <a:spcPct val="0"/>
              </a:spcBef>
              <a:spcAft>
                <a:spcPct val="0"/>
              </a:spcAft>
              <a:tabLst>
                <a:tab pos="0" algn="l"/>
                <a:tab pos="568325" algn="r"/>
                <a:tab pos="657225" algn="l"/>
              </a:tabLst>
              <a:defRPr sz="1900">
                <a:solidFill>
                  <a:schemeClr val="tx1"/>
                </a:solidFill>
                <a:latin typeface="Arial" panose="020B0604020202020204" pitchFamily="34" charset="0"/>
                <a:cs typeface="Arial" panose="020B0604020202020204" pitchFamily="34" charset="0"/>
              </a:defRPr>
            </a:lvl7pPr>
            <a:lvl8pPr marL="3429000" indent="-228600" defTabSz="2695575" fontAlgn="base">
              <a:spcBef>
                <a:spcPct val="0"/>
              </a:spcBef>
              <a:spcAft>
                <a:spcPct val="0"/>
              </a:spcAft>
              <a:tabLst>
                <a:tab pos="0" algn="l"/>
                <a:tab pos="568325" algn="r"/>
                <a:tab pos="657225" algn="l"/>
              </a:tabLst>
              <a:defRPr sz="1900">
                <a:solidFill>
                  <a:schemeClr val="tx1"/>
                </a:solidFill>
                <a:latin typeface="Arial" panose="020B0604020202020204" pitchFamily="34" charset="0"/>
                <a:cs typeface="Arial" panose="020B0604020202020204" pitchFamily="34" charset="0"/>
              </a:defRPr>
            </a:lvl8pPr>
            <a:lvl9pPr marL="3886200" indent="-228600" defTabSz="2695575" fontAlgn="base">
              <a:spcBef>
                <a:spcPct val="0"/>
              </a:spcBef>
              <a:spcAft>
                <a:spcPct val="0"/>
              </a:spcAft>
              <a:tabLst>
                <a:tab pos="0" algn="l"/>
                <a:tab pos="568325" algn="r"/>
                <a:tab pos="657225" algn="l"/>
              </a:tabLst>
              <a:defRPr sz="1900">
                <a:solidFill>
                  <a:schemeClr val="tx1"/>
                </a:solidFill>
                <a:latin typeface="Arial" panose="020B0604020202020204" pitchFamily="34" charset="0"/>
                <a:cs typeface="Arial" panose="020B0604020202020204" pitchFamily="34" charset="0"/>
              </a:defRPr>
            </a:lvl9pPr>
          </a:lstStyle>
          <a:p>
            <a:pPr eaLnBrk="0" hangingPunct="0">
              <a:lnSpc>
                <a:spcPct val="105000"/>
              </a:lnSpc>
            </a:pPr>
            <a:r>
              <a:rPr lang="de-DE" altLang="de-DE" sz="1200" b="1" dirty="0" smtClean="0">
                <a:solidFill>
                  <a:srgbClr val="00338D"/>
                </a:solidFill>
                <a:latin typeface="Univers for KPMG" panose="020B0603020202020204" pitchFamily="34" charset="0"/>
              </a:rPr>
              <a:t>Ulrike Mölau</a:t>
            </a:r>
            <a:endParaRPr lang="de-DE" altLang="de-DE" sz="1200" b="1" dirty="0">
              <a:solidFill>
                <a:srgbClr val="00338D"/>
              </a:solidFill>
              <a:latin typeface="Univers for KPMG" panose="020B0603020202020204" pitchFamily="34" charset="0"/>
            </a:endParaRPr>
          </a:p>
          <a:p>
            <a:pPr eaLnBrk="0" hangingPunct="0">
              <a:lnSpc>
                <a:spcPct val="105000"/>
              </a:lnSpc>
            </a:pPr>
            <a:r>
              <a:rPr lang="de-DE" altLang="de-DE" sz="1200" dirty="0" smtClean="0">
                <a:latin typeface="Univers for KPMG" panose="020B0603020202020204" pitchFamily="34" charset="0"/>
              </a:rPr>
              <a:t>Eventmanagement</a:t>
            </a:r>
          </a:p>
          <a:p>
            <a:pPr eaLnBrk="0" hangingPunct="0">
              <a:lnSpc>
                <a:spcPct val="105000"/>
              </a:lnSpc>
            </a:pPr>
            <a:r>
              <a:rPr lang="de-DE" altLang="de-DE" sz="1200" dirty="0" err="1" smtClean="0">
                <a:latin typeface="Univers for KPMG" panose="020B0603020202020204" pitchFamily="34" charset="0"/>
              </a:rPr>
              <a:t>Recruitment</a:t>
            </a:r>
            <a:r>
              <a:rPr lang="de-DE" altLang="de-DE" sz="1200" dirty="0" smtClean="0">
                <a:latin typeface="Univers for KPMG" panose="020B0603020202020204" pitchFamily="34" charset="0"/>
              </a:rPr>
              <a:t> Marketing</a:t>
            </a:r>
            <a:br>
              <a:rPr lang="de-DE" altLang="de-DE" sz="1200" dirty="0" smtClean="0">
                <a:latin typeface="Univers for KPMG" panose="020B0603020202020204" pitchFamily="34" charset="0"/>
              </a:rPr>
            </a:br>
            <a:r>
              <a:rPr lang="de-DE" altLang="de-DE" sz="1200" dirty="0" smtClean="0">
                <a:latin typeface="Univers for KPMG" panose="020B0603020202020204" pitchFamily="34" charset="0"/>
              </a:rPr>
              <a:t>Human Resources</a:t>
            </a:r>
            <a:endParaRPr lang="de-DE" altLang="de-DE" sz="1200" dirty="0">
              <a:latin typeface="Univers for KPMG" panose="020B0603020202020204" pitchFamily="34" charset="0"/>
            </a:endParaRPr>
          </a:p>
          <a:p>
            <a:pPr eaLnBrk="0" hangingPunct="0">
              <a:lnSpc>
                <a:spcPct val="105000"/>
              </a:lnSpc>
            </a:pPr>
            <a:r>
              <a:rPr lang="de-DE" altLang="de-DE" sz="1200" dirty="0">
                <a:latin typeface="Univers for KPMG" panose="020B0603020202020204" pitchFamily="34" charset="0"/>
                <a:sym typeface="Wingdings" panose="05000000000000000000" pitchFamily="2" charset="2"/>
              </a:rPr>
              <a:t>T +49 </a:t>
            </a:r>
            <a:r>
              <a:rPr lang="de-DE" altLang="de-DE" sz="1200" dirty="0" smtClean="0">
                <a:latin typeface="Univers for KPMG" panose="020B0603020202020204" pitchFamily="34" charset="0"/>
                <a:sym typeface="Wingdings" panose="05000000000000000000" pitchFamily="2" charset="2"/>
              </a:rPr>
              <a:t>30 2068-2757</a:t>
            </a:r>
            <a:endParaRPr lang="de-DE" altLang="de-DE" sz="1200" dirty="0">
              <a:latin typeface="Univers for KPMG" panose="020B0603020202020204" pitchFamily="34" charset="0"/>
              <a:sym typeface="Wingdings" panose="05000000000000000000" pitchFamily="2" charset="2"/>
            </a:endParaRPr>
          </a:p>
          <a:p>
            <a:pPr eaLnBrk="0" hangingPunct="0">
              <a:lnSpc>
                <a:spcPct val="105000"/>
              </a:lnSpc>
            </a:pPr>
            <a:r>
              <a:rPr lang="de-DE" altLang="de-DE" sz="1200" dirty="0" smtClean="0">
                <a:latin typeface="Univers for KPMG" panose="020B0603020202020204" pitchFamily="34" charset="0"/>
              </a:rPr>
              <a:t>umoelau@kpmg.com</a:t>
            </a:r>
            <a:endParaRPr lang="de-DE" altLang="de-DE" sz="1200" dirty="0">
              <a:latin typeface="Univers for KPMG" panose="020B0603020202020204" pitchFamily="34" charset="0"/>
            </a:endParaRPr>
          </a:p>
          <a:p>
            <a:pPr eaLnBrk="0" hangingPunct="0">
              <a:lnSpc>
                <a:spcPct val="105000"/>
              </a:lnSpc>
            </a:pPr>
            <a:endParaRPr lang="de-DE" altLang="de-DE" sz="1200" dirty="0">
              <a:latin typeface="Univers for KPMG" panose="020B0603020202020204" pitchFamily="34" charset="0"/>
              <a:sym typeface="Wingdings" panose="05000000000000000000" pitchFamily="2" charset="2"/>
            </a:endParaRPr>
          </a:p>
          <a:p>
            <a:pPr eaLnBrk="0" hangingPunct="0">
              <a:lnSpc>
                <a:spcPct val="105000"/>
              </a:lnSpc>
            </a:pPr>
            <a:r>
              <a:rPr lang="de-DE" altLang="de-DE" sz="1200" dirty="0">
                <a:latin typeface="Univers for KPMG" panose="020B0603020202020204" pitchFamily="34" charset="0"/>
              </a:rPr>
              <a:t>KPMG AG </a:t>
            </a:r>
            <a:br>
              <a:rPr lang="de-DE" altLang="de-DE" sz="1200" dirty="0">
                <a:latin typeface="Univers for KPMG" panose="020B0603020202020204" pitchFamily="34" charset="0"/>
              </a:rPr>
            </a:br>
            <a:r>
              <a:rPr lang="de-DE" altLang="de-DE" sz="1200" dirty="0">
                <a:latin typeface="Univers for KPMG" panose="020B0603020202020204" pitchFamily="34" charset="0"/>
              </a:rPr>
              <a:t>Wirtschaftsprüfungsgesellschaft</a:t>
            </a:r>
          </a:p>
          <a:p>
            <a:pPr eaLnBrk="0" hangingPunct="0">
              <a:lnSpc>
                <a:spcPct val="105000"/>
              </a:lnSpc>
            </a:pPr>
            <a:r>
              <a:rPr lang="de-DE" altLang="de-DE" sz="1200" dirty="0" smtClean="0">
                <a:latin typeface="Univers for KPMG" panose="020B0603020202020204" pitchFamily="34" charset="0"/>
                <a:sym typeface="Wingdings" panose="05000000000000000000" pitchFamily="2" charset="2"/>
              </a:rPr>
              <a:t>Klingelhöferstraße 18</a:t>
            </a:r>
            <a:r>
              <a:rPr lang="de-DE" altLang="de-DE" sz="1200" dirty="0">
                <a:latin typeface="Univers for KPMG" panose="020B0603020202020204" pitchFamily="34" charset="0"/>
                <a:sym typeface="Wingdings" panose="05000000000000000000" pitchFamily="2" charset="2"/>
              </a:rPr>
              <a:t/>
            </a:r>
            <a:br>
              <a:rPr lang="de-DE" altLang="de-DE" sz="1200" dirty="0">
                <a:latin typeface="Univers for KPMG" panose="020B0603020202020204" pitchFamily="34" charset="0"/>
                <a:sym typeface="Wingdings" panose="05000000000000000000" pitchFamily="2" charset="2"/>
              </a:rPr>
            </a:br>
            <a:r>
              <a:rPr lang="de-DE" altLang="de-DE" sz="1200" dirty="0" smtClean="0">
                <a:latin typeface="Univers for KPMG" panose="020B0603020202020204" pitchFamily="34" charset="0"/>
                <a:sym typeface="Wingdings" panose="05000000000000000000" pitchFamily="2" charset="2"/>
              </a:rPr>
              <a:t>10785 Berlin</a:t>
            </a:r>
            <a:endParaRPr lang="de-DE" altLang="de-DE" sz="1200" b="1" dirty="0">
              <a:solidFill>
                <a:srgbClr val="747678"/>
              </a:solidFill>
              <a:latin typeface="Univers for KPMG" panose="020B0603020202020204" pitchFamily="34" charset="0"/>
              <a:sym typeface="Wingdings" panose="05000000000000000000" pitchFamily="2" charset="2"/>
            </a:endParaRPr>
          </a:p>
        </p:txBody>
      </p:sp>
      <p:sp>
        <p:nvSpPr>
          <p:cNvPr id="10" name="Titel 1"/>
          <p:cNvSpPr txBox="1">
            <a:spLocks/>
          </p:cNvSpPr>
          <p:nvPr/>
        </p:nvSpPr>
        <p:spPr>
          <a:xfrm>
            <a:off x="2188347" y="304387"/>
            <a:ext cx="6336600" cy="1163395"/>
          </a:xfrm>
          <a:prstGeom prst="rect">
            <a:avLst/>
          </a:prstGeom>
        </p:spPr>
        <p:txBody>
          <a:bodyPr/>
          <a:lstStyle>
            <a:lvl1pPr eaLnBrk="1" hangingPunct="1">
              <a:lnSpc>
                <a:spcPct val="70000"/>
              </a:lnSpc>
              <a:defRPr sz="5400" b="0" i="0">
                <a:solidFill>
                  <a:schemeClr val="tx2"/>
                </a:solidFill>
                <a:latin typeface="KPMG Extralight"/>
                <a:cs typeface="KPMG Extralight"/>
              </a:defRPr>
            </a:lvl1pPr>
          </a:lstStyle>
          <a:p>
            <a:pPr defTabSz="914400"/>
            <a:r>
              <a:rPr lang="de-DE" kern="0" dirty="0" smtClean="0"/>
              <a:t>Ihr Ansprechpartner</a:t>
            </a:r>
            <a:endParaRPr lang="de-DE" kern="0" dirty="0"/>
          </a:p>
        </p:txBody>
      </p:sp>
    </p:spTree>
    <p:extLst>
      <p:ext uri="{BB962C8B-B14F-4D97-AF65-F5344CB8AC3E}">
        <p14:creationId xmlns:p14="http://schemas.microsoft.com/office/powerpoint/2010/main" val="2559897244"/>
      </p:ext>
    </p:extLst>
  </p:cSld>
  <p:clrMapOvr>
    <a:masterClrMapping/>
  </p:clrMapOvr>
  <p:transition spd="med">
    <p:pull/>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_Standard_4x3_0922_2015">
  <a:themeElements>
    <a:clrScheme name="Custom 1">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LT Std 45 Light"/>
            <a:cs typeface="Univers LT Std 45 Light"/>
          </a:defRPr>
        </a:defPPr>
      </a:lstStyle>
    </a:txDef>
  </a:objectDefaults>
  <a:extraClrSchemeLst/>
  <a:extLst>
    <a:ext uri="{05A4C25C-085E-4340-85A3-A5531E510DB2}">
      <thm15:themeFamily xmlns:thm15="http://schemas.microsoft.com/office/thememl/2012/main" name="KPMG_4x3_Standard-V7.potx" id="{52BF2FBB-BE2B-4D2E-8F44-198CF759EE0C}" vid="{4CDE096A-1DF6-42A3-8C11-7F1DC9AB2EEF}"/>
    </a:ext>
  </a:extLst>
</a:theme>
</file>

<file path=ppt/theme/theme2.xml><?xml version="1.0" encoding="utf-8"?>
<a:theme xmlns:a="http://schemas.openxmlformats.org/drawingml/2006/main" name="1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3.xml><?xml version="1.0" encoding="utf-8"?>
<a:theme xmlns:a="http://schemas.openxmlformats.org/drawingml/2006/main" name="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4.xml><?xml version="1.0" encoding="utf-8"?>
<a:theme xmlns:a="http://schemas.openxmlformats.org/drawingml/2006/main" name="2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57E1781C0E13D4680B15637077EEB1B" ma:contentTypeVersion="2" ma:contentTypeDescription="Ein neues Dokument erstellen." ma:contentTypeScope="" ma:versionID="08f87d1bab59e08b4a6f5eacc18e91a6">
  <xsd:schema xmlns:xsd="http://www.w3.org/2001/XMLSchema" xmlns:xs="http://www.w3.org/2001/XMLSchema" xmlns:p="http://schemas.microsoft.com/office/2006/metadata/properties" xmlns:ns1="http://schemas.microsoft.com/sharepoint/v3" xmlns:ns2="7d7e02fd-98ba-45a9-b8b7-0ca5f59e6332" targetNamespace="http://schemas.microsoft.com/office/2006/metadata/properties" ma:root="true" ma:fieldsID="384cabfc9eaf8326a56947d48d8353d2" ns1:_="" ns2:_="">
    <xsd:import namespace="http://schemas.microsoft.com/sharepoint/v3"/>
    <xsd:import namespace="7d7e02fd-98ba-45a9-b8b7-0ca5f59e6332"/>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d7e02fd-98ba-45a9-b8b7-0ca5f59e6332"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4.xml><?xml version="1.0" encoding="utf-8"?>
<?mso-contentType ?>
<FormTemplates xmlns="http://schemas.microsoft.com/sharepoint/v3/contenttype/forms">
  <Display>GlobalDocumentLibraryForm</Display>
  <Edit>GlobalDocumentLibraryForm</Edit>
</FormTemplates>
</file>

<file path=customXml/itemProps1.xml><?xml version="1.0" encoding="utf-8"?>
<ds:datastoreItem xmlns:ds="http://schemas.openxmlformats.org/officeDocument/2006/customXml" ds:itemID="{41762195-567D-4260-9F4C-04464798B841}"/>
</file>

<file path=customXml/itemProps2.xml><?xml version="1.0" encoding="utf-8"?>
<ds:datastoreItem xmlns:ds="http://schemas.openxmlformats.org/officeDocument/2006/customXml" ds:itemID="{210B8A9A-5DB0-437D-9306-BD515696E62B}"/>
</file>

<file path=customXml/itemProps3.xml><?xml version="1.0" encoding="utf-8"?>
<ds:datastoreItem xmlns:ds="http://schemas.openxmlformats.org/officeDocument/2006/customXml" ds:itemID="{6D1BC89B-DE10-4316-BFE3-4E63CD3A9B24}"/>
</file>

<file path=customXml/itemProps4.xml><?xml version="1.0" encoding="utf-8"?>
<ds:datastoreItem xmlns:ds="http://schemas.openxmlformats.org/officeDocument/2006/customXml" ds:itemID="{1B258079-8EE4-4554-BC64-8EA2B403AEC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02</Words>
  <Application>Microsoft Office PowerPoint</Application>
  <PresentationFormat>Benutzerdefiniert</PresentationFormat>
  <Paragraphs>99</Paragraphs>
  <Slides>9</Slides>
  <Notes>3</Notes>
  <HiddenSlides>0</HiddenSlides>
  <MMClips>0</MMClips>
  <ScaleCrop>false</ScaleCrop>
  <HeadingPairs>
    <vt:vector size="8" baseType="variant">
      <vt:variant>
        <vt:lpstr>Verwendete Schriftarten</vt:lpstr>
      </vt:variant>
      <vt:variant>
        <vt:i4>12</vt:i4>
      </vt:variant>
      <vt:variant>
        <vt:lpstr>Design</vt:lpstr>
      </vt:variant>
      <vt:variant>
        <vt:i4>4</vt:i4>
      </vt:variant>
      <vt:variant>
        <vt:lpstr>Eingebettete OLE-Server</vt:lpstr>
      </vt:variant>
      <vt:variant>
        <vt:i4>1</vt:i4>
      </vt:variant>
      <vt:variant>
        <vt:lpstr>Folientitel</vt:lpstr>
      </vt:variant>
      <vt:variant>
        <vt:i4>9</vt:i4>
      </vt:variant>
    </vt:vector>
  </HeadingPairs>
  <TitlesOfParts>
    <vt:vector size="26" baseType="lpstr">
      <vt:lpstr>Arial</vt:lpstr>
      <vt:lpstr>Calibri</vt:lpstr>
      <vt:lpstr>KPMG Extralight</vt:lpstr>
      <vt:lpstr>Lucida Grande</vt:lpstr>
      <vt:lpstr>Simplified Arabic Fixed</vt:lpstr>
      <vt:lpstr>Symbol</vt:lpstr>
      <vt:lpstr>Times New Roman</vt:lpstr>
      <vt:lpstr>Univers for KPMG</vt:lpstr>
      <vt:lpstr>Univers for KPMG Light</vt:lpstr>
      <vt:lpstr>Univers LT Std 45 Light</vt:lpstr>
      <vt:lpstr>Univers LT Std 55 Roman</vt:lpstr>
      <vt:lpstr>Wingdings</vt:lpstr>
      <vt:lpstr>KPMG_Standard_4x3_0922_2015</vt:lpstr>
      <vt:lpstr>1_KPMG_Widescreen_16:9 02/02/2016</vt:lpstr>
      <vt:lpstr>KPMG_Widescreen_16:9 02/02/2016</vt:lpstr>
      <vt:lpstr>2_KPMG_Widescreen_16:9 02/02/2016</vt:lpstr>
      <vt:lpstr>think-cell Folie</vt:lpstr>
      <vt:lpstr>KPMG International Case Competition 2017</vt:lpstr>
      <vt:lpstr> </vt:lpstr>
      <vt:lpstr>PowerPoint-Präsentation</vt:lpstr>
      <vt:lpstr>Der Wettbewerb im Überblick</vt:lpstr>
      <vt:lpstr>Preisgelder</vt:lpstr>
      <vt:lpstr>Teamaufstellung || Voraussetzungen</vt:lpstr>
      <vt:lpstr>Bewerbung</vt:lpstr>
      <vt:lpstr>PowerPoint-Präsentation</vt:lpstr>
      <vt:lpstr>PowerPoint-Prä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kpmg</dc:creator>
  <cp:lastModifiedBy>Mölau, Ulrike</cp:lastModifiedBy>
  <cp:revision>108</cp:revision>
  <cp:lastPrinted>2015-09-22T20:27:35Z</cp:lastPrinted>
  <dcterms:created xsi:type="dcterms:W3CDTF">2015-11-02T21:07:26Z</dcterms:created>
  <dcterms:modified xsi:type="dcterms:W3CDTF">2016-09-20T13:4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8-11T00:00:00Z</vt:filetime>
  </property>
  <property fmtid="{D5CDD505-2E9C-101B-9397-08002B2CF9AE}" pid="3" name="LastSaved">
    <vt:filetime>2015-08-11T00:00:00Z</vt:filetime>
  </property>
  <property fmtid="{D5CDD505-2E9C-101B-9397-08002B2CF9AE}" pid="4" name="ContentTypeId">
    <vt:lpwstr>0x010100B57E1781C0E13D4680B15637077EEB1B</vt:lpwstr>
  </property>
</Properties>
</file>